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ink/ink1.xml" ContentType="application/inkml+xml"/>
  <Override PartName="/ppt/ink/ink2.xml" ContentType="application/inkml+xml"/>
  <Override PartName="/ppt/ink/ink3.xml" ContentType="application/inkml+xml"/>
  <Override PartName="/ppt/ink/ink4.xml" ContentType="application/inkml+xml"/>
  <Override PartName="/ppt/ink/ink5.xml" ContentType="application/inkml+xml"/>
  <Override PartName="/ppt/ink/ink6.xml" ContentType="application/inkml+xml"/>
  <Override PartName="/ppt/ink/ink7.xml" ContentType="application/inkml+xml"/>
  <Override PartName="/ppt/ink/ink8.xml" ContentType="application/inkml+xml"/>
  <Override PartName="/ppt/ink/ink9.xml" ContentType="application/inkml+xml"/>
  <Override PartName="/ppt/ink/ink10.xml" ContentType="application/inkml+xml"/>
  <Override PartName="/ppt/ink/ink11.xml" ContentType="application/inkml+xml"/>
  <Override PartName="/ppt/ink/ink12.xml" ContentType="application/inkml+xml"/>
  <Override PartName="/ppt/ink/ink13.xml" ContentType="application/inkml+xml"/>
  <Override PartName="/ppt/ink/ink14.xml" ContentType="application/inkml+xml"/>
  <Override PartName="/ppt/ink/ink15.xml" ContentType="application/inkml+xml"/>
  <Override PartName="/ppt/ink/ink16.xml" ContentType="application/inkml+xml"/>
  <Override PartName="/ppt/ink/ink17.xml" ContentType="application/inkml+xml"/>
  <Override PartName="/ppt/ink/ink18.xml" ContentType="application/inkml+xml"/>
  <Override PartName="/ppt/ink/ink19.xml" ContentType="application/inkml+xml"/>
  <Override PartName="/ppt/ink/ink20.xml" ContentType="application/inkml+xml"/>
  <Override PartName="/ppt/ink/ink21.xml" ContentType="application/inkml+xml"/>
  <Override PartName="/ppt/ink/ink22.xml" ContentType="application/inkml+xml"/>
  <Override PartName="/ppt/ink/ink23.xml" ContentType="application/inkml+xml"/>
  <Override PartName="/ppt/ink/ink24.xml" ContentType="application/inkml+xml"/>
  <Override PartName="/ppt/ink/ink25.xml" ContentType="application/inkml+xml"/>
  <Override PartName="/ppt/ink/ink26.xml" ContentType="application/inkml+xml"/>
  <Override PartName="/ppt/ink/ink27.xml" ContentType="application/inkml+xml"/>
  <Override PartName="/ppt/ink/ink28.xml" ContentType="application/inkml+xml"/>
  <Override PartName="/ppt/ink/ink29.xml" ContentType="application/inkml+xml"/>
  <Override PartName="/ppt/ink/ink30.xml" ContentType="application/inkml+xml"/>
  <Override PartName="/ppt/ink/ink31.xml" ContentType="application/inkml+xml"/>
  <Override PartName="/ppt/ink/ink32.xml" ContentType="application/inkml+xml"/>
  <Override PartName="/ppt/ink/ink33.xml" ContentType="application/inkml+xml"/>
  <Override PartName="/ppt/ink/ink34.xml" ContentType="application/inkml+xml"/>
  <Override PartName="/ppt/ink/ink35.xml" ContentType="application/inkml+xml"/>
  <Override PartName="/ppt/ink/ink36.xml" ContentType="application/inkml+xml"/>
  <Override PartName="/ppt/ink/ink37.xml" ContentType="application/inkml+xml"/>
  <Override PartName="/ppt/ink/ink38.xml" ContentType="application/inkml+xml"/>
  <Override PartName="/ppt/ink/ink39.xml" ContentType="application/inkml+xml"/>
  <Override PartName="/ppt/ink/ink40.xml" ContentType="application/inkml+xml"/>
  <Override PartName="/ppt/ink/ink41.xml" ContentType="application/inkml+xml"/>
  <Override PartName="/ppt/ink/ink42.xml" ContentType="application/inkml+xml"/>
  <Override PartName="/ppt/ink/ink43.xml" ContentType="application/inkml+xml"/>
  <Override PartName="/ppt/ink/ink44.xml" ContentType="application/inkml+xml"/>
  <Override PartName="/ppt/ink/ink45.xml" ContentType="application/inkml+xml"/>
  <Override PartName="/ppt/ink/ink46.xml" ContentType="application/inkml+xml"/>
  <Override PartName="/ppt/ink/ink47.xml" ContentType="application/inkml+xml"/>
  <Override PartName="/ppt/ink/ink48.xml" ContentType="application/inkml+xml"/>
  <Override PartName="/ppt/ink/ink49.xml" ContentType="application/inkml+xml"/>
  <Override PartName="/ppt/ink/ink50.xml" ContentType="application/inkml+xml"/>
  <Override PartName="/ppt/ink/ink51.xml" ContentType="application/inkml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</p:sldMasterIdLst>
  <p:notesMasterIdLst>
    <p:notesMasterId r:id="rId31"/>
  </p:notesMasterIdLst>
  <p:sldIdLst>
    <p:sldId id="276" r:id="rId5"/>
    <p:sldId id="3422" r:id="rId6"/>
    <p:sldId id="3423" r:id="rId7"/>
    <p:sldId id="3424" r:id="rId8"/>
    <p:sldId id="3425" r:id="rId9"/>
    <p:sldId id="3448" r:id="rId10"/>
    <p:sldId id="3426" r:id="rId11"/>
    <p:sldId id="3436" r:id="rId12"/>
    <p:sldId id="3443" r:id="rId13"/>
    <p:sldId id="3449" r:id="rId14"/>
    <p:sldId id="3437" r:id="rId15"/>
    <p:sldId id="3438" r:id="rId16"/>
    <p:sldId id="3431" r:id="rId17"/>
    <p:sldId id="3427" r:id="rId18"/>
    <p:sldId id="3439" r:id="rId19"/>
    <p:sldId id="3446" r:id="rId20"/>
    <p:sldId id="3440" r:id="rId21"/>
    <p:sldId id="3444" r:id="rId22"/>
    <p:sldId id="3428" r:id="rId23"/>
    <p:sldId id="3441" r:id="rId24"/>
    <p:sldId id="3432" r:id="rId25"/>
    <p:sldId id="3434" r:id="rId26"/>
    <p:sldId id="3433" r:id="rId27"/>
    <p:sldId id="3435" r:id="rId28"/>
    <p:sldId id="3447" r:id="rId29"/>
    <p:sldId id="3414" r:id="rId30"/>
  </p:sldIdLst>
  <p:sldSz cx="12192000" cy="6858000"/>
  <p:notesSz cx="6797675" cy="9874250"/>
  <p:custDataLst>
    <p:tags r:id="rId32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566" userDrawn="1">
          <p15:clr>
            <a:srgbClr val="A4A3A4"/>
          </p15:clr>
        </p15:guide>
        <p15:guide id="3" pos="7423" userDrawn="1">
          <p15:clr>
            <a:srgbClr val="A4A3A4"/>
          </p15:clr>
        </p15:guide>
        <p15:guide id="4" orient="horz" pos="1281" userDrawn="1">
          <p15:clr>
            <a:srgbClr val="A4A3A4"/>
          </p15:clr>
        </p15:guide>
        <p15:guide id="5" orient="horz" pos="3932" userDrawn="1">
          <p15:clr>
            <a:srgbClr val="A4A3A4"/>
          </p15:clr>
        </p15:guide>
        <p15:guide id="6" orient="horz" pos="1110" userDrawn="1">
          <p15:clr>
            <a:srgbClr val="A4A3A4"/>
          </p15:clr>
        </p15:guide>
        <p15:guide id="7" pos="256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BEEF7"/>
    <a:srgbClr val="E53359"/>
    <a:srgbClr val="001E71"/>
    <a:srgbClr val="B7CAFF"/>
    <a:srgbClr val="B9CDE5"/>
    <a:srgbClr val="FFF270"/>
    <a:srgbClr val="FDEADA"/>
    <a:srgbClr val="A9A9CB"/>
    <a:srgbClr val="8B9DAC"/>
    <a:srgbClr val="A3ACB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F6C8A10-1A10-EC45-8213-95090E9F1966}" v="216" dt="2022-12-22T21:12:11.350"/>
    <p1510:client id="{1934B0BB-FBEC-EF2A-46EC-E0DBC191AF32}" v="104" dt="2022-12-23T08:16:06.822"/>
    <p1510:client id="{2921F909-546C-0DEA-1183-2BD1B9BC38BF}" v="18" dt="2022-12-22T20:47:01.659"/>
    <p1510:client id="{5BC978A5-BF05-D801-6DCC-D8BB976C29DB}" v="375" dt="2022-12-22T20:53:50.675"/>
    <p1510:client id="{7B628FE9-F012-A5C9-A8DE-7DB23BE4E9DE}" v="1742" dt="2022-12-22T20:59:27.975"/>
    <p1510:client id="{8F10B71A-63A1-B00D-4993-3810EA62B33E}" v="169" dt="2022-12-23T03:21:38.474"/>
    <p1510:client id="{974D4991-D42C-192C-EE45-8D8CB491261A}" v="1" dt="2022-12-14T13:02:52.073"/>
    <p1510:client id="{B131A780-ECD6-4EA8-6E8D-3CA27DD7DA18}" v="342" dt="2022-12-22T20:35:35.087"/>
    <p1510:client id="{B742D6A6-3118-12A5-1A02-15FF5933DAA4}" v="2" dt="2022-12-22T21:03:25.631"/>
    <p1510:client id="{CD293E75-5738-EC8D-7795-431C0E318C6D}" v="1064" dt="2022-12-22T09:44:14.354"/>
    <p1510:client id="{D245F481-6CD9-2FE2-981D-B1626C2AD969}" v="318" dt="2022-12-22T10:20:05.212"/>
    <p1510:client id="{D98CC96F-32EE-938C-D59C-29FA0959F864}" v="237" dt="2022-12-23T08:20:49.993"/>
    <p1510:client id="{E2B54EF4-319E-6D3E-06D6-8B1541A2D932}" v="2" dt="2022-12-23T08:21:26.816"/>
    <p1510:client id="{F51C883E-639F-41F7-8035-92B38B8CB33B}" v="555" dt="2022-12-14T12:52:25.776"/>
    <p1510:client id="{F9D13399-6890-CF5D-1DA2-1AA15EA3A60D}" v="428" dt="2022-12-22T20:56:10.400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slideViewPr>
    <p:cSldViewPr snapToGrid="0">
      <p:cViewPr>
        <p:scale>
          <a:sx n="1" d="2"/>
          <a:sy n="1" d="2"/>
        </p:scale>
        <p:origin x="0" y="0"/>
      </p:cViewPr>
      <p:guideLst>
        <p:guide orient="horz" pos="566"/>
        <p:guide pos="7423"/>
        <p:guide orient="horz" pos="1281"/>
        <p:guide orient="horz" pos="3932"/>
        <p:guide orient="horz" pos="1110"/>
        <p:guide pos="256"/>
      </p:guideLst>
    </p:cSldViewPr>
  </p:slide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21" Type="http://schemas.openxmlformats.org/officeDocument/2006/relationships/slide" Target="slides/slide17.xml"/><Relationship Id="rId34" Type="http://schemas.openxmlformats.org/officeDocument/2006/relationships/viewProps" Target="view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tags" Target="tags/tag1.xml"/><Relationship Id="rId37" Type="http://schemas.microsoft.com/office/2015/10/relationships/revisionInfo" Target="revisionInfo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theme" Target="theme/theme1.xml"/><Relationship Id="rId8" Type="http://schemas.openxmlformats.org/officeDocument/2006/relationships/slide" Target="slides/slide4.xml"/><Relationship Id="rId3" Type="http://schemas.openxmlformats.org/officeDocument/2006/relationships/customXml" Target="../customXml/item3.xml"/></Relationships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12-22T17:16:33.018"/>
    </inkml:context>
    <inkml:brush xml:id="br0">
      <inkml:brushProperty name="width" value="0.3" units="cm"/>
      <inkml:brushProperty name="height" value="0.6" units="cm"/>
      <inkml:brushProperty name="color" value="#FFFC00"/>
      <inkml:brushProperty name="tip" value="rectangle"/>
      <inkml:brushProperty name="rasterOp" value="maskPen"/>
    </inkml:brush>
  </inkml:definitions>
  <inkml:trace contextRef="#ctx0" brushRef="#br0">13347 8512 16383 0 0,'-2'5'0'0'0,"-18"21"0"0"0,-7 14 0 0 0,-6 8 0 0 0,-1 7 0 0 0,2 4 0 0 0,3 9 0 0 0,5 9 0 0 0,6 5 0 0 0,6 1 0 0 0,5 3 0 0 0,6 1 0 0 0,7 1 0 0 0,1-1 0 0 0,3 1 0 0 0,0-1 0 0 0,0-2 0 0 0,2-4 0 0 0,1-9 0 0 0,-2-8 0 0 0,1-9 0 0 0,-3-9 0 0 0,1-7 0 0 0,-2-2 0 0 0,1-5 0 0 0,1-2 0 0 0,-1-1 0 0 0,-2-2 0 0 0,0-4 0 0 0,0 0 0 0 0,0-1 0 0 0,0-2 0 0 0,1-2 0 0 0,-1-1 0 0 0,-1 3 0 0 0,-2 2 0 0 0,-2 3 0 0 0,2 0 0 0 0,0 1 0 0 0,-1 2 0 0 0,-1 1 0 0 0,0-1 0 0 0,-1-1 0 0 0,-1-1 0 0 0,0-1 0 0 0,-2-1 0 0 0,-2-3 0 0 0,0-1 0 0 0,1-2 0 0 0,4-1 0 0 0,1-1 0 0 0,1-1 0 0 0,-3 0 0 0 0,-2 1 0 0 0,3-3 0 0 0,0-1 0 0 0,1 0 0 0 0,0 1 0 0 0,2-2 0 0 0,-2-3 0 0 0,1-2 0 0 0,-3-1 0 0 0,2 3 0 0 0,0 2 0 0 0,0 2 0 0 0,0 2 0 0 0,-1 1 0 0 0,-1 4 0 0 0,1 0 0 0 0,-1 1 0 0 0,0 2 0 0 0,-3-1 0 0 0,-1 0 0 0 0,1 1 0 0 0,0 2 0 0 0,-2 3 0 0 0,1-1 0 0 0,-3 1 0 0 0,0 1 0 0 0,2 1 0 0 0,1 1 0 0 0,2 1 0 0 0,0 0 0 0 0,2-2 0 0 0,0-1 0 0 0,0 1 0 0 0,0 0 0 0 0,0 3 0 0 0,1 5 0 0 0,-1 3 0 0 0,0 4 0 0 0,0 5 0 0 0,0 4 0 0 0,0 8 0 0 0,0 6 0 0 0,0 8 0 0 0,0 7 0 0 0,0 9 0 0 0,0 12 0 0 0,0 17 0 0 0,-3 14 0 0 0,2 22 0 0 0,2 27 0 0 0,2 39 0 0 0,4 28 0 0 0,3 14 0 0 0,3-3 0 0 0,2-11 0 0 0,1-13 0 0 0,-2-14 0 0 0,-4-19 0 0 0,-3-17 0 0 0,-6-16 0 0 0,-5-13 0 0 0,-6-12 0 0 0,-2-14 0 0 0,-3-14 0 0 0,-2-17 0 0 0,3-8 0 0 0,4-7 0 0 0,0-8 0 0 0,2-6 0 0 0,3-10 0 0 0,1-10 0 0 0,3-11 0 0 0,-3-13 0 0 0,1-19 0 0 0,0-14 0 0 0,1-8 0 0 0,3-5 0 0 0,2-5 0 0 0,-1-1 0 0 0,1 0 0 0 0,-1 0 0 0 0,0-2 0 0 0,-2-4 0 0 0,1-3 0 0 0,-1-1 0 0 0,0-3 0 0 0,0-3 0 0 0,0-5 0 0 0,-1-9 0 0 0,1-11 0 0 0,0-11 0 0 0,0-11 0 0 0,0-15 0 0 0,-2-14 0 0 0,-5-9 0 0 0,0-8 0 0 0,1-8 0 0 0,1-6 0 0 0,0-6 0 0 0,2-6 0 0 0,-1-2 0 0 0,1-5 0 0 0,1-2 0 0 0,-3-1 0 0 0,-2 0 0 0 0,-1-4 0 0 0,2-5 0 0 0,4-6 0 0 0,5-6 0 0 0,5-1 0 0 0,1 1 0 0 0,-1 7 0 0 0,1 10 0 0 0,-1 13 0 0 0,-2 12 0 0 0,0 10 0 0 0,3 7 0 0 0,1 4 0 0 0,3 0 0 0 0,1-4 0 0 0,2 1 0 0 0,-3 2 0 0 0,-3 7 0 0 0,-1 11 0 0 0,-2 8 0 0 0,1 8 0 0 0,-1 6 0 0 0,-2 5 0 0 0,1 6 0 0 0,-1 8 0 0 0,2 5 0 0 0,0 7 0 0 0,1 12 0 0 0,-1 8 0 0 0,-1 7 0 0 0,-5 9 0 0 0,1 8 0 0 0,-1 14 0 0 0,3 7 0 0 0,3 2 0 0 0,0-3 0 0 0,2-3 0 0 0,2-5 0 0 0,-1-4 0 0 0,1-5 0 0 0,1-1 0 0 0,-2 0 0 0 0,1-2 0 0 0,-2-1 0 0 0,0-1 0 0 0,-1 0 0 0 0,0-1 0 0 0,-1 0 0 0 0,-1 0 0 0 0,-2 5 0 0 0,-5 8 0 0 0,-2 6 0 0 0,0 9 0 0 0,3 4 0 0 0,1 3 0 0 0,1 3 0 0 0,0 4 0 0 0,-1-1 0 0 0,3 1 0 0 0,0 2 0 0 0,3 1 0 0 0,-1 2 0 0 0,2 2 0 0 0,3 5 0 0 0,1 6 0 0 0,2 7 0 0 0,3 5 0 0 0,2 12 0 0 0,1 13 0 0 0,-1 11 0 0 0,-4 15 0 0 0,-1 19 0 0 0,-1 25 0 0 0,1 32 0 0 0,0 40 0 0 0,0 32 0 0 0,1 27 0 0 0,1 13 0 0 0,-3 6 0 0 0,-4-1 0 0 0,-3-8 0 0 0,-2-8 0 0 0,-8-9 0 0 0,-5-12 0 0 0,-8-15 0 0 0,-5-15 0 0 0,-2-17 0 0 0,1-22 0 0 0,-2-24 0 0 0,1-23 0 0 0,5-23 0 0 0,6-19 0 0 0,4-19 0 0 0,7-17 0 0 0,6-16 0 0 0,6-16 0 0 0,3-13 0 0 0,3-11 0 0 0,0-11 0 0 0,-1-8 0 0 0,-2-5 0 0 0,-2-7 0 0 0,-4-3 0 0 0,-5-3 0 0 0,-3 0 0 0 0,-1-2 0 0 0,2-4 0 0 0,1-8 0 0 0,0-10 0 0 0,4-14 0 0 0,-1-18 0 0 0,3-16 0 0 0,3-28 0 0 0,5-37 0 0 0,2-51 0 0 0,1-46 0 0 0,1-40 0 0 0,-1-32 0 0 0,-1-16 0 0 0,3-1 0 0 0,0 14 0 0 0,2 26 0 0 0,0 30 0 0 0,-1 35 0 0 0,-1 40 0 0 0,-4 41 0 0 0,-5 39 0 0 0,-5 39 0 0 0,-5 41 0 0 0,-3 35 0 0 0,-2 30 0 0 0,-2 28 0 0 0,0 23 0 0 0,-2 18 0 0 0,0 15 0 0 0,-1 11 0 0 0,-1 9 0 0 0,0 16 0 0 0,3 34 0 0 0,1 51 0 0 0,9 58 0 0 0,7 49 0 0 0,9 29 0 0 0,3 10 0 0 0,-1-11 0 0 0,-3-31 0 0 0,-4-44 0 0 0,-4-54 0 0 0,-4-56 0 0 0,-3-56 0 0 0,-2-57 0 0 0,2-47 0 0 0,0-37 0 0 0,-1-27 0 0 0,0-13 0 0 0,2-8 0 0 0,-2 0 0 0 0,-5 4 0 0 0,-3 3 0 0 0,-5 2 0 0 0,-5-11 0 0 0,-11-33 0 0 0,-11-52 0 0 0,-10-52 0 0 0,-11-45 0 0 0,-5-29 0 0 0,-1-9 0 0 0,4 9 0 0 0,6 24 0 0 0,7 32 0 0 0,9 42 0 0 0,12 44 0 0 0,9 39 0 0 0,12 48 0 0 0,6 41 0 0 0,5 37 0 0 0,3 31 0 0 0,2 24 0 0 0,0 23 0 0 0,-2 22 0 0 0,-3 25 0 0 0,-1 25 0 0 0,-3 19 0 0 0,3 16 0 0 0,2 11 0 0 0,9 9 0 0 0,15 23 0 0 0,21 26 0 0 0,18 14 0 0 0,14-3 0 0 0,3-18 0 0 0,-5-38 0 0 0,-16-45 0 0 0,-20-50 0 0 0,-19-51 0 0 0,-20-50 0 0 0,-16-41 0 0 0,-12-38 0 0 0,-8-25 0 0 0,-1-20 0 0 0,-1-16 0 0 0,3-16 0 0 0,0-27 0 0 0,-2-40 0 0 0,-5-43 0 0 0,-6-41 0 0 0,-2-38 0 0 0,1-29 0 0 0,3-16 0 0 0,8 0 0 0 0,7 17 0 0 0,8 30 0 0 0,6 37 0 0 0,8 44 0 0 0,5 48 0 0 0,1 47 0 0 0,-1 45 0 0 0,-2 56 0 0 0,-7 48 0 0 0,-3 39 0 0 0,-2 34 0 0 0,0 24 0 0 0,-1 22 0 0 0,-2 22 0 0 0,8 37 0 0 0,16 56 0 0 0,24 66 0 0 0,27 54 0 0 0,21 24 0 0 0,13-8 0 0 0,4-32 0 0 0,-4-49 0 0 0,-13-60 0 0 0,-17-63 0 0 0,-19-57 0 0 0,-21-51 0 0 0,-16-48 0 0 0,-10-37 0 0 0,-8-25 0 0 0,-4-14 0 0 0,0-7 0 0 0,3 0 0 0 0,2 0 0 0 0,4 7 0 0 0,-1 7 0 0 0,-1 8 0 0 0,-3 4 0 0 0,-2-3 0 0 0,-5-2 0 0 0,-1-5 0 0 0,-1-12 0 0 0,2-19 0 0 0,3-21 0 0 0,3-33 0 0 0,0-37 0 0 0,-3-38 0 0 0,1-38 0 0 0,0-29 0 0 0,0-19 0 0 0,1-10 0 0 0,4-4 0 0 0,2 6 0 0 0,3 11 0 0 0,2 15 0 0 0,3 18 0 0 0,2 16 0 0 0,0 11 0 0 0,2 14 0 0 0,3 11 0 0 0,-1 12 0 0 0,-3 11 0 0 0,-4 11 0 0 0,-1 18 0 0 0,-4 19 0 0 0,-1 16 0 0 0,-2 8 0 0 0,-3 5 0 0 0,-2 1 0 0 0,1-1 0 0 0,-4-5 0 0 0,-1-7 0 0 0,-1-1 0 0 0,0 1 0 0 0,0 4 0 0 0,3 7 0 0 0,4 11 0 0 0,4 9 0 0 0,2 11 0 0 0,0 14 0 0 0,0 27 0 0 0,4 21 0 0 0,4 20 0 0 0,2 17 0 0 0,2 15 0 0 0,0 14 0 0 0,1 13 0 0 0,0 16 0 0 0,-3 16 0 0 0,-1 10 0 0 0,0 15 0 0 0,0 16 0 0 0,-4 15 0 0 0,-2 14 0 0 0,-1 9 0 0 0,0 7 0 0 0,3 2 0 0 0,2-2 0 0 0,-1-11 0 0 0,0-13 0 0 0,-3-11 0 0 0,-1-11 0 0 0,-3-13 0 0 0,-1-14 0 0 0,-2-11 0 0 0,-3-8 0 0 0,2-7 0 0 0,1-6 0 0 0,0-10 0 0 0,-2-11 0 0 0,1-12 0 0 0,0-13 0 0 0,-2-14 0 0 0,1-16 0 0 0,0-9 0 0 0,1-9 0 0 0,0-10 0 0 0,1-7 0 0 0,2-6 0 0 0,2-4 0 0 0,5-5 0 0 0,4-7 0 0 0,2-7 0 0 0,2-9 0 0 0,2-8 0 0 0,0-4 0 0 0,-3-2 0 0 0,1-4 0 0 0,-2 1 0 0 0,-2 0 0 0 0,-1-3 0 0 0,-5-6 0 0 0,-5-6 0 0 0,-3-7 0 0 0,-4-8 0 0 0,-1-8 0 0 0,-5-12 0 0 0,2-11 0 0 0,0-12 0 0 0,1-11 0 0 0,0-10 0 0 0,1-12 0 0 0,-1-9 0 0 0,1-8 0 0 0,-1 1 0 0 0,-2 3 0 0 0,-4 9 0 0 0,-1 6 0 0 0,-1 6 0 0 0,-3 6 0 0 0,1 8 0 0 0,2 3 0 0 0,3 10 0 0 0,1 13 0 0 0,5 13 0 0 0,3 17 0 0 0,2 18 0 0 0,1 17 0 0 0,4 18 0 0 0,6 17 0 0 0,3 23 0 0 0,3 21 0 0 0,4 19 0 0 0,-1 18 0 0 0,4 17 0 0 0,-1 14 0 0 0,0 9 0 0 0,1 8 0 0 0,-2 5 0 0 0,-1 3 0 0 0,1 6 0 0 0,1 6 0 0 0,1 4 0 0 0,0 3 0 0 0,2 3 0 0 0,-3 4 0 0 0,-1 1 0 0 0,-2 5 0 0 0,-3 1 0 0 0,-6-1 0 0 0,-2-2 0 0 0,-7-6 0 0 0,-4-8 0 0 0,-4-8 0 0 0,-1-13 0 0 0,2-12 0 0 0,2-10 0 0 0,1-16 0 0 0,5-12 0 0 0,4-15 0 0 0,7-14 0 0 0,2-17 0 0 0,3-18 0 0 0,3-11 0 0 0,1-10 0 0 0,2-12 0 0 0,1-11 0 0 0,0-10 0 0 0,0-8 0 0 0,0-5 0 0 0,-2-7 0 0 0,-1-5 0 0 0,-1-2 0 0 0,1-7 0 0 0,-2-4 0 0 0,1-6 0 0 0,-1-4 0 0 0,2-5 0 0 0,4-3 0 0 0,-2-4 0 0 0,0-4 0 0 0,0-2 0 0 0,0 5 0 0 0,3 4 0 0 0,4 8 0 0 0,1 11 0 0 0,-2 12 0 0 0,0 18 0 0 0,-2 16 0 0 0,-2 16 0 0 0,0 15 0 0 0,-1 13 0 0 0,-3 15 0 0 0,-1 13 0 0 0,0 10 0 0 0,1 9 0 0 0,-2 9 0 0 0,0 4 0 0 0,-2 9 0 0 0,-3 9 0 0 0,-1 5 0 0 0,-6 5 0 0 0,-4 3 0 0 0,-2 6 0 0 0,-5 8 0 0 0,0 4 0 0 0,-1 4 0 0 0,-4-2 0 0 0,-1-3 0 0 0,2-6 0 0 0,1-7 0 0 0,3-12 0 0 0,4-11 0 0 0,0-12 0 0 0,2-17 0 0 0,2-15 0 0 0,1-17 0 0 0,2-14 0 0 0,0-10 0 0 0,1-10 0 0 0,1-7 0 0 0,-1-7 0 0 0,0-6 0 0 0,3-5 0 0 0,-2-5 0 0 0,-1-5 0 0 0,0-2 0 0 0,-1 1 0 0 0,0 2 0 0 0,-2 4 0 0 0,-1 5 0 0 0,-2 8 0 0 0,-1 9 0 0 0,-1 10 0 0 0,0 8 0 0 0,0 10 0 0 0,-3 8 0 0 0,-1 11 0 0 0,1 9 0 0 0,0 11 0 0 0,-1 10 0 0 0,-2 11 0 0 0,0 13 0 0 0,2 9 0 0 0,3 12 0 0 0,5 6 0 0 0,4 8 0 0 0,2 5 0 0 0,3 9 0 0 0,4 11 0 0 0,-1 13 0 0 0,3 9 0 0 0,-2 6 0 0 0,-2 1 0 0 0,-3-6 0 0 0,-1-6 0 0 0,-1-13 0 0 0,-2-14 0 0 0,-3-18 0 0 0,-1-18 0 0 0,0-16 0 0 0,-1-16 0 0 0,-4-13 0 0 0,1-18 0 0 0,1-16 0 0 0,7-11 0 0 0,4-1 0 0 0</inkml:trace>
</inkml:ink>
</file>

<file path=ppt/ink/ink1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12-22T17:16:33.027"/>
    </inkml:context>
    <inkml:brush xml:id="br0">
      <inkml:brushProperty name="width" value="0.3" units="cm"/>
      <inkml:brushProperty name="height" value="0.6" units="cm"/>
      <inkml:brushProperty name="color" value="#0069AF"/>
      <inkml:brushProperty name="tip" value="rectangle"/>
      <inkml:brushProperty name="rasterOp" value="maskPen"/>
    </inkml:brush>
  </inkml:definitions>
  <inkml:trace contextRef="#ctx0" brushRef="#br0">20611 10274 16383 0 0,'16'-3'0'0'0,"14"0"0"0"0,9-1 0 0 0,9-1 0 0 0,13-3 0 0 0,11 0 0 0 0,16-2 0 0 0,14-1 0 0 0,19-2 0 0 0,21-1 0 0 0,19-1 0 0 0,17-4 0 0 0,8 0 0 0 0,4-3 0 0 0,2-6 0 0 0,-4-3 0 0 0,-8-3 0 0 0,-10 1 0 0 0,-12 2 0 0 0,-12 7 0 0 0,-10 7 0 0 0,-5 4 0 0 0,-10 7 0 0 0,-9 4 0 0 0,-7 3 0 0 0,-6 1 0 0 0,-6-3 0 0 0,-5 0 0 0 0,-7-1 0 0 0,-7 0 0 0 0,-5 3 0 0 0,-3 2 0 0 0,-6 2 0 0 0,-1 4 0 0 0,-3 0 0 0 0,-3-2 0 0 0,-5-1 0 0 0,-6-3 0 0 0,-7-1 0 0 0,-6-1 0 0 0,-6 2 0 0 0,-5-3 0 0 0,-7 0 0 0 0,-3 2 0 0 0,-3 0 0 0 0</inkml:trace>
</inkml:ink>
</file>

<file path=ppt/ink/ink1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12-22T17:16:33.028"/>
    </inkml:context>
    <inkml:brush xml:id="br0">
      <inkml:brushProperty name="width" value="0.3" units="cm"/>
      <inkml:brushProperty name="height" value="0.6" units="cm"/>
      <inkml:brushProperty name="color" value="#0069AF"/>
      <inkml:brushProperty name="tip" value="rectangle"/>
      <inkml:brushProperty name="rasterOp" value="maskPen"/>
    </inkml:brush>
  </inkml:definitions>
  <inkml:trace contextRef="#ctx0" brushRef="#br0">25560 10487 16383 0 0,'-6'-10'0'0'0,"10"6"0"0"0,14 2 0 0 0,15 1 0 0 0,16-2 0 0 0,17 0 0 0 0,20-3 0 0 0,22 0 0 0 0,19-1 0 0 0,15-3 0 0 0,11 0 0 0 0,8 0 0 0 0,6 1 0 0 0,3 0 0 0 0,-2 1 0 0 0,-2 2 0 0 0,-3 2 0 0 0,-2-1 0 0 0,-4 0 0 0 0,-5-1 0 0 0,-6 0 0 0 0,-10 1 0 0 0,-9 1 0 0 0,-12 2 0 0 0,-13 1 0 0 0,-16 3 0 0 0,-16 1 0 0 0,-16 1 0 0 0,-13 2 0 0 0,-12-1 0 0 0,-10 3 0 0 0,-9 2 0 0 0,-3 2 0 0 0,-1 4 0 0 0,8 8 0 0 0,1 0 0 0 0</inkml:trace>
</inkml:ink>
</file>

<file path=ppt/ink/ink1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12-22T17:16:33.029"/>
    </inkml:context>
    <inkml:brush xml:id="br0">
      <inkml:brushProperty name="width" value="0.3" units="cm"/>
      <inkml:brushProperty name="height" value="0.6" units="cm"/>
      <inkml:brushProperty name="color" value="#0069AF"/>
      <inkml:brushProperty name="tip" value="rectangle"/>
      <inkml:brushProperty name="rasterOp" value="maskPen"/>
    </inkml:brush>
  </inkml:definitions>
  <inkml:trace contextRef="#ctx0" brushRef="#br0">25294 10442 16383 0 0,'6'0'0'0'0,"17"3"0"0"0,13 1 0 0 0,14-1 0 0 0,9-3 0 0 0,11-2 0 0 0,7-2 0 0 0,3-5 0 0 0,5 0 0 0 0,12 2 0 0 0,19 2 0 0 0,16 4 0 0 0,13 5 0 0 0,9 5 0 0 0,2 3 0 0 0,-25 0 0 0 0</inkml:trace>
</inkml:ink>
</file>

<file path=ppt/ink/ink1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12-22T17:16:33.030"/>
    </inkml:context>
    <inkml:brush xml:id="br0">
      <inkml:brushProperty name="width" value="0.3" units="cm"/>
      <inkml:brushProperty name="height" value="0.6" units="cm"/>
      <inkml:brushProperty name="color" value="#0069AF"/>
      <inkml:brushProperty name="tip" value="rectangle"/>
      <inkml:brushProperty name="rasterOp" value="maskPen"/>
    </inkml:brush>
  </inkml:definitions>
  <inkml:trace contextRef="#ctx0" brushRef="#br0">25467 11149 16383 0 0,'-5'-3'0'0'0,"11"8"0"0"0,13-1 0 0 0,14 3 0 0 0,12-1 0 0 0,12 0 0 0 0,12-3 0 0 0,14 0 0 0 0,13-5 0 0 0,18-3 0 0 0,16-2 0 0 0,13-2 0 0 0,15-2 0 0 0,17-3 0 0 0,15 3 0 0 0,9 1 0 0 0,6-1 0 0 0,3 0 0 0 0,-4-3 0 0 0,-10-2 0 0 0,-14-4 0 0 0,-14 0 0 0 0,-15-1 0 0 0,-18 2 0 0 0,-21 0 0 0 0,-18 5 0 0 0,-20 3 0 0 0,-18 5 0 0 0,-15 2 0 0 0,-14 6 0 0 0,-10 1 0 0 0,-5 4 0 0 0,-4 3 0 0 0,-1 2 0 0 0,-2 0 0 0 0</inkml:trace>
</inkml:ink>
</file>

<file path=ppt/ink/ink1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12-22T17:16:33.031"/>
    </inkml:context>
    <inkml:brush xml:id="br0">
      <inkml:brushProperty name="width" value="0.3" units="cm"/>
      <inkml:brushProperty name="height" value="0.6" units="cm"/>
      <inkml:brushProperty name="color" value="#0069AF"/>
      <inkml:brushProperty name="tip" value="rectangle"/>
      <inkml:brushProperty name="rasterOp" value="maskPen"/>
    </inkml:brush>
  </inkml:definitions>
  <inkml:trace contextRef="#ctx0" brushRef="#br0">20505 10837 16383 0 0,'14'5'0'0'0,"12"3"0"0"0,9-2 0 0 0,13 3 0 0 0,12-2 0 0 0,11-1 0 0 0,10 1 0 0 0,7-4 0 0 0,6-2 0 0 0,1-1 0 0 0,-1-4 0 0 0,3 0 0 0 0,-3-1 0 0 0,2-1 0 0 0,-2-3 0 0 0,-1 1 0 0 0,0 1 0 0 0,-5-1 0 0 0,-7 2 0 0 0,-6-2 0 0 0,-8 1 0 0 0,-5-1 0 0 0,-2 0 0 0 0,0 3 0 0 0,0 1 0 0 0,0-1 0 0 0,2 0 0 0 0,-3 4 0 0 0,-2 2 0 0 0,-4 1 0 0 0,-2-3 0 0 0,-5-1 0 0 0,-2 0 0 0 0,0 0 0 0 0,3 0 0 0 0,4 1 0 0 0,4 1 0 0 0,4 2 0 0 0,2 2 0 0 0,-1-4 0 0 0,0-3 0 0 0,-2-2 0 0 0,-3 0 0 0 0,-2 1 0 0 0,-3-1 0 0 0,-2-1 0 0 0,0 2 0 0 0,2 1 0 0 0,0 1 0 0 0,0 1 0 0 0,0 0 0 0 0,2 1 0 0 0,2 3 0 0 0,4 1 0 0 0,-1-1 0 0 0,-1 0 0 0 0,-3 2 0 0 0,-5 0 0 0 0,-2-1 0 0 0,-1-1 0 0 0,-1-1 0 0 0,4 2 0 0 0,7-3 0 0 0,7 2 0 0 0,4 0 0 0 0,5-1 0 0 0,-3 0 0 0 0,-1-1 0 0 0,-5 0 0 0 0,-7-1 0 0 0,-4 3 0 0 0,-7 0 0 0 0,-4 1 0 0 0,-2-4 0 0 0,1 1 0 0 0,2 0 0 0 0,0-3 0 0 0,-3 0 0 0 0,-1-1 0 0 0,0 6 0 0 0,8 13 0 0 0,-4 4 0 0 0</inkml:trace>
</inkml:ink>
</file>

<file path=ppt/ink/ink1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12-22T17:16:33.032"/>
    </inkml:context>
    <inkml:brush xml:id="br0">
      <inkml:brushProperty name="width" value="0.3" units="cm"/>
      <inkml:brushProperty name="height" value="0.6" units="cm"/>
      <inkml:brushProperty name="color" value="#0069AF"/>
      <inkml:brushProperty name="tip" value="rectangle"/>
      <inkml:brushProperty name="rasterOp" value="maskPen"/>
    </inkml:brush>
  </inkml:definitions>
  <inkml:trace contextRef="#ctx0" brushRef="#br0">18971 11461 16383 0 0,'-3'0'0'0'0,"13"-3"0"0"0,10 0 0 0 0,10 2 0 0 0,7 2 0 0 0,11 3 0 0 0,11 1 0 0 0,12 2 0 0 0,9-2 0 0 0,8-2 0 0 0,5-5 0 0 0,7-2 0 0 0,7-2 0 0 0,3-1 0 0 0,2 1 0 0 0,1-1 0 0 0,-1 0 0 0 0,1 2 0 0 0,-2 4 0 0 0,3 0 0 0 0,1 2 0 0 0,-1 5 0 0 0,-3 0 0 0 0,-5 2 0 0 0,-4 0 0 0 0,-3 1 0 0 0,-3 2 0 0 0,-1-1 0 0 0,-1-2 0 0 0,-2-3 0 0 0,-7-2 0 0 0,-7 2 0 0 0,-6-1 0 0 0,-4 2 0 0 0,-1 2 0 0 0,2 4 0 0 0,0-2 0 0 0,-1 1 0 0 0,-1-1 0 0 0,-4-3 0 0 0,-5-3 0 0 0,-7-1 0 0 0,-6 1 0 0 0,-4 0 0 0 0,-2-1 0 0 0,-1-1 0 0 0,2 0 0 0 0,2 1 0 0 0,2 1 0 0 0,-1-3 0 0 0,-3 1 0 0 0,-2 0 0 0 0,-3-3 0 0 0,-2-2 0 0 0,5 1 0 0 0,-5 0 0 0 0</inkml:trace>
</inkml:ink>
</file>

<file path=ppt/ink/ink1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12-22T17:16:33.033"/>
    </inkml:context>
    <inkml:brush xml:id="br0">
      <inkml:brushProperty name="width" value="0.3" units="cm"/>
      <inkml:brushProperty name="height" value="0.6" units="cm"/>
      <inkml:brushProperty name="color" value="#0069AF"/>
      <inkml:brushProperty name="tip" value="rectangle"/>
      <inkml:brushProperty name="rasterOp" value="maskPen"/>
    </inkml:brush>
  </inkml:definitions>
  <inkml:trace contextRef="#ctx0" brushRef="#br0">20677 11766 16383 0 0,'3'-3'0'0'0,"-2"13"0"0"0,1 4 0 0 0,4 1 0 0 0,5-3 0 0 0,10-7 0 0 0,9-5 0 0 0,12-7 0 0 0,14-4 0 0 0,12-3 0 0 0,14 0 0 0 0,12 1 0 0 0,8-1 0 0 0,9 0 0 0 0,7-1 0 0 0,4 0 0 0 0,4 2 0 0 0,-1 1 0 0 0,-4 2 0 0 0,-2 3 0 0 0,2 3 0 0 0,4 2 0 0 0,3 1 0 0 0,1 1 0 0 0,3 0 0 0 0,3 3 0 0 0,3 4 0 0 0,-1 3 0 0 0,-5 0 0 0 0,-5-1 0 0 0,-7-1 0 0 0,-4-3 0 0 0,-3 0 0 0 0,1-1 0 0 0,-4-2 0 0 0,-3 0 0 0 0,-5-1 0 0 0,-5-1 0 0 0,-7 0 0 0 0,-2 0 0 0 0,-2 3 0 0 0,0 0 0 0 0,-2 0 0 0 0,0 3 0 0 0,0-1 0 0 0,3 2 0 0 0,2 0 0 0 0,3 2 0 0 0,-2-2 0 0 0,-2-1 0 0 0,-8-2 0 0 0,-10-4 0 0 0,-8-2 0 0 0,-10-1 0 0 0,-8 0 0 0 0,-6 1 0 0 0,-5 0 0 0 0,-4-2 0 0 0,-5 0 0 0 0,-4 1 0 0 0,-6-3 0 0 0,-4 1 0 0 0</inkml:trace>
</inkml:ink>
</file>

<file path=ppt/ink/ink1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12-22T17:16:33.034"/>
    </inkml:context>
    <inkml:brush xml:id="br0">
      <inkml:brushProperty name="width" value="0.3" units="cm"/>
      <inkml:brushProperty name="height" value="0.6" units="cm"/>
      <inkml:brushProperty name="color" value="#0069AF"/>
      <inkml:brushProperty name="tip" value="rectangle"/>
      <inkml:brushProperty name="rasterOp" value="maskPen"/>
    </inkml:brush>
  </inkml:definitions>
  <inkml:trace contextRef="#ctx0" brushRef="#br0">20645 11608 16383 0 0,'-11'-2'0'0'0,"-11"-2"0"0"0,-5-2 0 0 0,-1 0 0 0 0,3 0 0 0 0,12 2 0 0 0,12-1 0 0 0,12 0 0 0 0,8 4 0 0 0,7 1 0 0 0,5 2 0 0 0,2 0 0 0 0,3 2 0 0 0,1 4 0 0 0,3-1 0 0 0,7 3 0 0 0,15 4 0 0 0,-3-1 0 0 0</inkml:trace>
</inkml:ink>
</file>

<file path=ppt/ink/ink1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12-22T17:16:33.035"/>
    </inkml:context>
    <inkml:brush xml:id="br0">
      <inkml:brushProperty name="width" value="0.3" units="cm"/>
      <inkml:brushProperty name="height" value="0.6" units="cm"/>
      <inkml:brushProperty name="color" value="#0069AF"/>
      <inkml:brushProperty name="tip" value="rectangle"/>
      <inkml:brushProperty name="rasterOp" value="maskPen"/>
    </inkml:brush>
  </inkml:definitions>
  <inkml:trace contextRef="#ctx0" brushRef="#br0">21220 12070 16383 0 0,'18'-3'0'0'0,"18"2"0"0"0,13 1 0 0 0,12 4 0 0 0,11 0 0 0 0,10 0 0 0 0,9 2 0 0 0,12 3 0 0 0,14 2 0 0 0,17 2 0 0 0,18-1 0 0 0,18 0 0 0 0,15-2 0 0 0,12-3 0 0 0,0-2 0 0 0,-8-5 0 0 0,-12-5 0 0 0,-12-2 0 0 0,-13-2 0 0 0,-10-3 0 0 0,-14 2 0 0 0,-12-1 0 0 0,-10 1 0 0 0,-6 3 0 0 0,-5 0 0 0 0,-5-2 0 0 0,-1-2 0 0 0,-6-2 0 0 0,-5 2 0 0 0,-6-1 0 0 0,-5 0 0 0 0,-2 1 0 0 0,1 1 0 0 0,3 1 0 0 0,0 2 0 0 0,-1 1 0 0 0,-4 0 0 0 0,-7 1 0 0 0,-6 2 0 0 0,-11 2 0 0 0</inkml:trace>
</inkml:ink>
</file>

<file path=ppt/ink/ink1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12-22T17:16:33.036"/>
    </inkml:context>
    <inkml:brush xml:id="br0">
      <inkml:brushProperty name="width" value="0.3" units="cm"/>
      <inkml:brushProperty name="height" value="0.6" units="cm"/>
      <inkml:brushProperty name="color" value="#0069AF"/>
      <inkml:brushProperty name="tip" value="rectangle"/>
      <inkml:brushProperty name="rasterOp" value="maskPen"/>
    </inkml:brush>
  </inkml:definitions>
  <inkml:trace contextRef="#ctx0" brushRef="#br0">17243 12405 16383 0 0,'-6'-8'0'0'0,"-12"0"0"0"0,-5 1 0 0 0,-3 5 0 0 0,4 5 0 0 0,9 2 0 0 0,8 4 0 0 0,8-1 0 0 0,10-1 0 0 0,7-2 0 0 0,8-2 0 0 0,11-4 0 0 0,8-2 0 0 0,9 0 0 0 0,6 0 0 0 0,5 0 0 0 0,1 2 0 0 0,0-3 0 0 0,-4 0 0 0 0,-4 1 0 0 0,-5-3 0 0 0,0 1 0 0 0,-3-2 0 0 0,-1-3 0 0 0,-4 1 0 0 0,-4 2 0 0 0,-3 4 0 0 0,-4 4 0 0 0,-3 3 0 0 0,-3 2 0 0 0,0 2 0 0 0,-2 2 0 0 0,-2 3 0 0 0,-1 1 0 0 0,-1 1 0 0 0,2-1 0 0 0,-1-2 0 0 0,-2-1 0 0 0,0-2 0 0 0,-1 0 0 0 0,-2-1 0 0 0,-1-1 0 0 0,-1-1 0 0 0,-1-3 0 0 0,-1-1 0 0 0,-1-1 0 0 0,1-1 0 0 0,-1 3 0 0 0,1 0 0 0 0,-1-3 0 0 0,1-1 0 0 0,-3 2 0 0 0,-1 1 0 0 0,1 0 0 0 0,0 0 0 0 0,1-1 0 0 0,0 0 0 0 0,12 0 0 0 0,1-1 0 0 0</inkml:trace>
</inkml:ink>
</file>

<file path=ppt/ink/ink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12-22T17:16:33.019"/>
    </inkml:context>
    <inkml:brush xml:id="br0">
      <inkml:brushProperty name="width" value="0.3" units="cm"/>
      <inkml:brushProperty name="height" value="0.6" units="cm"/>
      <inkml:brushProperty name="color" value="#FFFC00"/>
      <inkml:brushProperty name="tip" value="rectangle"/>
      <inkml:brushProperty name="rasterOp" value="maskPen"/>
    </inkml:brush>
  </inkml:definitions>
  <inkml:trace contextRef="#ctx0" brushRef="#br0">13668 10710 16383 0 0,'-11'-3'0'0'0,"-5"16"0"0"0,-2 10 0 0 0,4 10 0 0 0,1 7 0 0 0,2 5 0 0 0,4 3 0 0 0,3 1 0 0 0,1 3 0 0 0,5 9 0 0 0,2 10 0 0 0,3 9 0 0 0,2 8 0 0 0,1 4 0 0 0,0-3 0 0 0,-1-5 0 0 0,-1-12 0 0 0,-4-13 0 0 0,-4-13 0 0 0,1-15 0 0 0,-3-10 0 0 0,-1-20 0 0 0,0-11 0 0 0,0-11 0 0 0,4-9 0 0 0,1-5 0 0 0,1-5 0 0 0,0-1 0 0 0,-4-1 0 0 0,-1 1 0 0 0,-1-3 0 0 0,1-3 0 0 0,0-3 0 0 0,1-2 0 0 0,0 0 0 0 0,0-5 0 0 0,1 0 0 0 0,0 4 0 0 0,0 3 0 0 0,1 4 0 0 0,-1 5 0 0 0,0 2 0 0 0,0 4 0 0 0,0 3 0 0 0,3 1 0 0 0,0 4 0 0 0,1 3 0 0 0,-2 4 0 0 0,0-1 0 0 0,-1-2 0 0 0,0 0 0 0 0,2 2 0 0 0,6 1 0 0 0,1 5 0 0 0</inkml:trace>
</inkml:ink>
</file>

<file path=ppt/ink/ink2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12-22T17:16:33.037"/>
    </inkml:context>
    <inkml:brush xml:id="br0">
      <inkml:brushProperty name="width" value="0.3" units="cm"/>
      <inkml:brushProperty name="height" value="0.6" units="cm"/>
      <inkml:brushProperty name="color" value="#0069AF"/>
      <inkml:brushProperty name="tip" value="rectangle"/>
      <inkml:brushProperty name="rasterOp" value="maskPen"/>
    </inkml:brush>
  </inkml:definitions>
  <inkml:trace contextRef="#ctx0" brushRef="#br0">24025 12671 16383 0 0,'-5'-2'0'0'0,"14"6"0"0"0,13 3 0 0 0,12 1 0 0 0,10-2 0 0 0,9-4 0 0 0,8-2 0 0 0,8-5 0 0 0,11-3 0 0 0,10-4 0 0 0,12 1 0 0 0,17 2 0 0 0,19 0 0 0 0,15-1 0 0 0,6 1 0 0 0,3-1 0 0 0,-3 2 0 0 0,0 4 0 0 0,-7 3 0 0 0,-5 0 0 0 0,-5 2 0 0 0,-3-2 0 0 0,-1-1 0 0 0,0-2 0 0 0,-7-1 0 0 0,-13-2 0 0 0,-12 0 0 0 0,-17-1 0 0 0,-15 0 0 0 0,-15 2 0 0 0,-10-1 0 0 0,-4 1 0 0 0,-5 1 0 0 0,-1 2 0 0 0,3-2 0 0 0,-5 1 0 0 0</inkml:trace>
</inkml:ink>
</file>

<file path=ppt/ink/ink2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12-22T17:16:33.038"/>
    </inkml:context>
    <inkml:brush xml:id="br0">
      <inkml:brushProperty name="width" value="0.3" units="cm"/>
      <inkml:brushProperty name="height" value="0.6" units="cm"/>
      <inkml:brushProperty name="color" value="#0069AF"/>
      <inkml:brushProperty name="tip" value="rectangle"/>
      <inkml:brushProperty name="rasterOp" value="maskPen"/>
    </inkml:brush>
  </inkml:definitions>
  <inkml:trace contextRef="#ctx0" brushRef="#br0">20439 13080 16383 0 0,'11'-6'0'0'0,"8"-1"0"0"0,5 3 0 0 0,3 2 0 0 0,-1 4 0 0 0,1 2 0 0 0,5 6 0 0 0,3 0 0 0 0,8 2 0 0 0,9 2 0 0 0,16-2 0 0 0,16-3 0 0 0,14-3 0 0 0,11-3 0 0 0,11-1 0 0 0,10-1 0 0 0,15-2 0 0 0,12 4 0 0 0,14 0 0 0 0,16-1 0 0 0,14 3 0 0 0,10 1 0 0 0,4-2 0 0 0,1-1 0 0 0,-8 0 0 0 0,-11-2 0 0 0,-13-3 0 0 0,-11-4 0 0 0,-7-4 0 0 0,-6-3 0 0 0,-3-4 0 0 0,4-2 0 0 0,-1-1 0 0 0,-4 0 0 0 0,-6 5 0 0 0,-11 1 0 0 0,-10 3 0 0 0,-10 6 0 0 0,-10 4 0 0 0,-10 3 0 0 0,-8 0 0 0 0,-9 0 0 0 0,-5 0 0 0 0,-5-1 0 0 0,-1 3 0 0 0,6 0 0 0 0,4-1 0 0 0,-2 0 0 0 0,-3-1 0 0 0,-10-1 0 0 0,-7 2 0 0 0,-14 1 0 0 0</inkml:trace>
</inkml:ink>
</file>

<file path=ppt/ink/ink2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12-22T17:16:33.039"/>
    </inkml:context>
    <inkml:brush xml:id="br0">
      <inkml:brushProperty name="width" value="0.3" units="cm"/>
      <inkml:brushProperty name="height" value="0.6" units="cm"/>
      <inkml:brushProperty name="color" value="#0069AF"/>
      <inkml:brushProperty name="tip" value="rectangle"/>
      <inkml:brushProperty name="rasterOp" value="maskPen"/>
    </inkml:brush>
  </inkml:definitions>
  <inkml:trace contextRef="#ctx0" brushRef="#br0">25693 13265 16383 0 0,'-11'0'0'0'0,"13"5"0"0"0,14 2 0 0 0,12-2 0 0 0,12-3 0 0 0,13-2 0 0 0,14-3 0 0 0,13-4 0 0 0,16-3 0 0 0,12-1 0 0 0,10 0 0 0 0,11-1 0 0 0,13 1 0 0 0,13 0 0 0 0,6-1 0 0 0,8 1 0 0 0,13 1 0 0 0,8-4 0 0 0,7-2 0 0 0,6 1 0 0 0,5-1 0 0 0,-1 1 0 0 0,-4 1 0 0 0,-9 0 0 0 0,-14 0 0 0 0,-15 4 0 0 0,-21 8 0 0 0,-20 6 0 0 0,-32 2 0 0 0</inkml:trace>
</inkml:ink>
</file>

<file path=ppt/ink/ink2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12-22T17:16:33.040"/>
    </inkml:context>
    <inkml:brush xml:id="br0">
      <inkml:brushProperty name="width" value="0.3" units="cm"/>
      <inkml:brushProperty name="height" value="0.6" units="cm"/>
      <inkml:brushProperty name="color" value="#0069AF"/>
      <inkml:brushProperty name="tip" value="rectangle"/>
      <inkml:brushProperty name="rasterOp" value="maskPen"/>
    </inkml:brush>
  </inkml:definitions>
  <inkml:trace contextRef="#ctx0" brushRef="#br0">25671 13361 16383 0 0,'5'17'0'0'0,"-1"4"0"0"0,-3-3 0 0 0,-8-3 0 0 0,-5-3 0 0 0,-6-4 0 0 0,-3 0 0 0 0,-2 0 0 0 0,-1 0 0 0 0,-2 0 0 0 0,2 0 0 0 0,-1 0 0 0 0,-2 2 0 0 0,-1 2 0 0 0,1-1 0 0 0,5 0 0 0 0,15-1 0 0 0,16-6 0 0 0,20-6 0 0 0,24-5 0 0 0,22-4 0 0 0,17-6 0 0 0,14-2 0 0 0,13-2 0 0 0,14 4 0 0 0,13 2 0 0 0,17 3 0 0 0,21 7 0 0 0,23 9 0 0 0,18 7 0 0 0,12 4 0 0 0,5 0 0 0 0,0-6 0 0 0,-7-4 0 0 0,-11-6 0 0 0,-14-5 0 0 0,-16-2 0 0 0,-16 4 0 0 0,-21 4 0 0 0,-20 6 0 0 0,-25 9 0 0 0,-32 2 0 0 0</inkml:trace>
</inkml:ink>
</file>

<file path=ppt/ink/ink2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12-22T17:16:33.041"/>
    </inkml:context>
    <inkml:brush xml:id="br0">
      <inkml:brushProperty name="width" value="0.3" units="cm"/>
      <inkml:brushProperty name="height" value="0.6" units="cm"/>
      <inkml:brushProperty name="color" value="#0069AF"/>
      <inkml:brushProperty name="tip" value="rectangle"/>
      <inkml:brushProperty name="rasterOp" value="maskPen"/>
    </inkml:brush>
  </inkml:definitions>
  <inkml:trace contextRef="#ctx0" brushRef="#br0">25043 13866 16383 0 0,'-2'-11'0'0'0,"11"-1"0"0"0,11 2 0 0 0,10 0 0 0 0,7 2 0 0 0,11-1 0 0 0,14-2 0 0 0,15-1 0 0 0,18-1 0 0 0,18-4 0 0 0,13-5 0 0 0,13-3 0 0 0,11-7 0 0 0,14 1 0 0 0,7 2 0 0 0,10 4 0 0 0,7 3 0 0 0,3 5 0 0 0,1 6 0 0 0,-1 5 0 0 0,-5 3 0 0 0,-7 5 0 0 0,-9 7 0 0 0,-13 8 0 0 0,-14 6 0 0 0,-15 5 0 0 0,-16 3 0 0 0,-13 1 0 0 0,-13 4 0 0 0,-16 0 0 0 0,-20-5 0 0 0</inkml:trace>
</inkml:ink>
</file>

<file path=ppt/ink/ink2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12-22T17:16:33.042"/>
    </inkml:context>
    <inkml:brush xml:id="br0">
      <inkml:brushProperty name="width" value="0.3" units="cm"/>
      <inkml:brushProperty name="height" value="0.6" units="cm"/>
      <inkml:brushProperty name="color" value="#0069AF"/>
      <inkml:brushProperty name="tip" value="rectangle"/>
      <inkml:brushProperty name="rasterOp" value="maskPen"/>
    </inkml:brush>
  </inkml:definitions>
  <inkml:trace contextRef="#ctx0" brushRef="#br0">25810 14160 16383 0 0,'3'-6'0'0'0,"11"-4"0"0"0,17-3 0 0 0,22-5 0 0 0,21-1 0 0 0,22 1 0 0 0,21 5 0 0 0,21 4 0 0 0,19 6 0 0 0,12 4 0 0 0,7 2 0 0 0,3-3 0 0 0,-2-3 0 0 0,1-10 0 0 0,0-8 0 0 0,2-8 0 0 0,5-5 0 0 0,1-2 0 0 0,-4 2 0 0 0,-7 5 0 0 0,-11 7 0 0 0,-15 5 0 0 0,-17 7 0 0 0,-19 14 0 0 0,-22 12 0 0 0,-23 11 0 0 0,-24 0 0 0 0</inkml:trace>
</inkml:ink>
</file>

<file path=ppt/ink/ink2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12-22T17:16:33.043"/>
    </inkml:context>
    <inkml:brush xml:id="br0">
      <inkml:brushProperty name="width" value="0.3" units="cm"/>
      <inkml:brushProperty name="height" value="0.6" units="cm"/>
      <inkml:brushProperty name="color" value="#0069AF"/>
      <inkml:brushProperty name="tip" value="rectangle"/>
      <inkml:brushProperty name="rasterOp" value="maskPen"/>
    </inkml:brush>
  </inkml:definitions>
  <inkml:trace contextRef="#ctx0" brushRef="#br0">25598 14598 16383 0 0,'19'-8'0'0'0,"17"-8"0"0"0,18-4 0 0 0,22-1 0 0 0,27-3 0 0 0,26-2 0 0 0,23 0 0 0 0,21 2 0 0 0,18 0 0 0 0,9-2 0 0 0,6-1 0 0 0,-1 1 0 0 0,-2-1 0 0 0,-6 2 0 0 0,-13 5 0 0 0,-13 6 0 0 0,-12 6 0 0 0,-14 6 0 0 0,-15 9 0 0 0,-17 9 0 0 0,-19 7 0 0 0,-21 2 0 0 0,-14 0 0 0 0,-14 1 0 0 0,-11-4 0 0 0,-7-6 0 0 0,-3-6 0 0 0,-6-4 0 0 0</inkml:trace>
</inkml:ink>
</file>

<file path=ppt/ink/ink2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12-22T17:16:33.044"/>
    </inkml:context>
    <inkml:brush xml:id="br0">
      <inkml:brushProperty name="width" value="0.3" units="cm"/>
      <inkml:brushProperty name="height" value="0.6" units="cm"/>
      <inkml:brushProperty name="color" value="#00F900"/>
      <inkml:brushProperty name="tip" value="rectangle"/>
      <inkml:brushProperty name="rasterOp" value="maskPen"/>
    </inkml:brush>
  </inkml:definitions>
  <inkml:trace contextRef="#ctx0" brushRef="#br0">15338 8376 16383 0 0,'-8'0'0'0'0,"-13"-6"0"0"0,-7 2 0 0 0,3 3 0 0 0,7 6 0 0 0,8 3 0 0 0,4 4 0 0 0,7 0 0 0 0,6 0 0 0 0,4 1 0 0 0,3-2 0 0 0,2 0 0 0 0,-2 1 0 0 0,-1-2 0 0 0,1 1 0 0 0,2 0 0 0 0,2 2 0 0 0,3 0 0 0 0,1-1 0 0 0,2-3 0 0 0,2-2 0 0 0,2-1 0 0 0,2-1 0 0 0,3-1 0 0 0,5-2 0 0 0,4 0 0 0 0,2-2 0 0 0,3 3 0 0 0,0-2 0 0 0,-2-1 0 0 0,0-1 0 0 0,-3 0 0 0 0,0 0 0 0 0,-2 0 0 0 0,0 1 0 0 0,-1-1 0 0 0,-2 1 0 0 0,-2 0 0 0 0,-2 0 0 0 0,0 0 0 0 0,-1-2 0 0 0,2-2 0 0 0,3 1 0 0 0,7 0 0 0 0,3 1 0 0 0,2 1 0 0 0,1 0 0 0 0,-1-2 0 0 0,-2 2 0 0 0,-2-1 0 0 0,-3-1 0 0 0,-3 1 0 0 0,-3 0 0 0 0,1 0 0 0 0,-2 2 0 0 0,0-3 0 0 0,-4-1 0 0 0,-1 1 0 0 0,-4 0 0 0 0,-1 1 0 0 0,-1 1 0 0 0,-3-2 0 0 0,1-1 0 0 0,2 1 0 0 0,-1 0 0 0 0,2 4 0 0 0,1 1 0 0 0,-1 1 0 0 0,2 0 0 0 0,0-1 0 0 0,-1-1 0 0 0,0-3 0 0 0,-1-1 0 0 0,-3 0 0 0 0,-2 0 0 0 0,-2 1 0 0 0,-1 1 0 0 0,-1 0 0 0 0,0 1 0 0 0,-1-1 0 0 0,0 2 0 0 0,1-1 0 0 0,-1-3 0 0 0,1 0 0 0 0,0-1 0 0 0,-1-1 0 0 0,1 0 0 0 0,-3 3 0 0 0,-3-1 0 0 0,-1 1 0 0 0,0 0 0 0 0,2 0 0 0 0,2 2 0 0 0,1-1 0 0 0,1 1 0 0 0,0 0 0 0 0,-1-3 0 0 0,-5 3 0 0 0,1 0 0 0 0,-1 1 0 0 0,0-3 0 0 0,0 2 0 0 0,2 0 0 0 0,1 2 0 0 0,2-4 0 0 0,0-1 0 0 0,2 3 0 0 0,0-1 0 0 0,0-1 0 0 0,0 0 0 0 0,0 0 0 0 0,0 1 0 0 0,0 1 0 0 0,0-1 0 0 0,0 1 0 0 0,-3 3 0 0 0,-1 1 0 0 0,0-1 0 0 0,1 0 0 0 0,1 2 0 0 0,1 0 0 0 0,0-1 0 0 0,-2-1 0 0 0</inkml:trace>
</inkml:ink>
</file>

<file path=ppt/ink/ink2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12-22T17:16:33.045"/>
    </inkml:context>
    <inkml:brush xml:id="br0">
      <inkml:brushProperty name="width" value="0.3" units="cm"/>
      <inkml:brushProperty name="height" value="0.6" units="cm"/>
      <inkml:brushProperty name="color" value="#00F900"/>
      <inkml:brushProperty name="tip" value="rectangle"/>
      <inkml:brushProperty name="rasterOp" value="maskPen"/>
    </inkml:brush>
  </inkml:definitions>
  <inkml:trace contextRef="#ctx0" brushRef="#br0">18272 8548 16383 0 0,'-11'-3'0'0'0,"-6"0"0"0"0,-3-1 0 0 0,0 2 0 0 0,0 2 0 0 0,0 5 0 0 0,2 2 0 0 0,1 1 0 0 0,0 1 0 0 0,-4 0 0 0 0,-5-1 0 0 0,-2 1 0 0 0,-3-1 0 0 0,-4 1 0 0 0,-1-1 0 0 0,0 0 0 0 0,-1-1 0 0 0,-4-1 0 0 0,-4 1 0 0 0,-4 1 0 0 0,-1 0 0 0 0,0 1 0 0 0,1-1 0 0 0,0-1 0 0 0,0-3 0 0 0,1 1 0 0 0,-2 0 0 0 0,-4 1 0 0 0,-6 1 0 0 0,-6 0 0 0 0,-2 0 0 0 0,-4-1 0 0 0,0-2 0 0 0,4-2 0 0 0,4 2 0 0 0,-2 3 0 0 0,2 3 0 0 0,3-1 0 0 0,-4 2 0 0 0,0 0 0 0 0,0 0 0 0 0,-3 2 0 0 0,0 3 0 0 0,-2 0 0 0 0,0-2 0 0 0,1-1 0 0 0,5-2 0 0 0,2-1 0 0 0,3-2 0 0 0,4 1 0 0 0,4-2 0 0 0,4 1 0 0 0,3-1 0 0 0,0 1 0 0 0,0-1 0 0 0,2-1 0 0 0,0 0 0 0 0,2 0 0 0 0,5-4 0 0 0,3-3 0 0 0,4 0 0 0 0,5-1 0 0 0,3 0 0 0 0,2 1 0 0 0,2 0 0 0 0,1 1 0 0 0,0-3 0 0 0,0-1 0 0 0,-1 1 0 0 0,1 0 0 0 0,0 1 0 0 0,2 4 0 0 0,3 3 0 0 0,7 5 0 0 0,3 2 0 0 0,7 3 0 0 0,6 1 0 0 0,2 0 0 0 0,5 0 0 0 0,6 1 0 0 0,5-1 0 0 0,8 3 0 0 0,7 1 0 0 0,10 2 0 0 0,12-2 0 0 0,9-3 0 0 0,12-1 0 0 0,11-3 0 0 0,8-4 0 0 0,7-3 0 0 0,5-3 0 0 0,4-5 0 0 0,3-1 0 0 0,-2-1 0 0 0,-7 0 0 0 0,-8-4 0 0 0,-11-1 0 0 0,-14-1 0 0 0,-10-3 0 0 0,-10 2 0 0 0,-9 0 0 0 0,-2 2 0 0 0,-2-1 0 0 0,-3 2 0 0 0,-1 2 0 0 0,0 2 0 0 0,-2 2 0 0 0,-1 1 0 0 0,-5 1 0 0 0,-2 0 0 0 0,-4 1 0 0 0,-1-1 0 0 0,1 0 0 0 0,1 3 0 0 0,2 1 0 0 0,0 0 0 0 0,0 1 0 0 0,1 1 0 0 0,-1-2 0 0 0,-1 0 0 0 0,2 0 0 0 0,-1 1 0 0 0,-1-1 0 0 0,2-1 0 0 0,-1-1 0 0 0,-1-1 0 0 0,-4 2 0 0 0,-5 1 0 0 0,-1-1 0 0 0,0-1 0 0 0,-2 0 0 0 0,1-1 0 0 0,1-3 0 0 0,-1-1 0 0 0,3-1 0 0 0,3 1 0 0 0,-2 1 0 0 0,-1-2 0 0 0,4 0 0 0 0,4-3 0 0 0,4-2 0 0 0,4 0 0 0 0,1 2 0 0 0,2 2 0 0 0,1 2 0 0 0,-2-2 0 0 0,-4 1 0 0 0,-4 0 0 0 0,-3 2 0 0 0,-1 0 0 0 0,-2 2 0 0 0,2-1 0 0 0,3 1 0 0 0,3 0 0 0 0,4 1 0 0 0,4-1 0 0 0,2 3 0 0 0,1 0 0 0 0,0 3 0 0 0,-3 1 0 0 0,-3 1 0 0 0,-2 2 0 0 0,-5 2 0 0 0,-4 0 0 0 0,-4-4 0 0 0,-4-4 0 0 0,2-2 0 0 0,-2 0 0 0 0,1-3 0 0 0,1-2 0 0 0,-2 0 0 0 0,0 0 0 0 0,-1 1 0 0 0,0 4 0 0 0,1 0 0 0 0,2 1 0 0 0,1-3 0 0 0,4-1 0 0 0,2-4 0 0 0,0 0 0 0 0,2 0 0 0 0,0 3 0 0 0,0 1 0 0 0,-2-1 0 0 0,-4 0 0 0 0,-1 1 0 0 0,-1 1 0 0 0,0-1 0 0 0,-3 1 0 0 0,1-3 0 0 0,0 0 0 0 0,-1 0 0 0 0,0 0 0 0 0,-2 1 0 0 0,1 1 0 0 0,1 0 0 0 0,4 1 0 0 0,3 0 0 0 0,4 0 0 0 0,0 0 0 0 0,0 0 0 0 0,-1 1 0 0 0,-2-1 0 0 0,0 0 0 0 0,-2 0 0 0 0,-3 0 0 0 0,-1 2 0 0 0,0 2 0 0 0,-2-1 0 0 0,0 0 0 0 0,-2-1 0 0 0,-2-3 0 0 0,-2 0 0 0 0,-2-1 0 0 0,-4 2 0 0 0,-2 1 0 0 0,0 0 0 0 0,1 3 0 0 0,0 0 0 0 0,1 1 0 0 0,1-2 0 0 0,3-1 0 0 0,1-1 0 0 0,1 0 0 0 0,-2-1 0 0 0,0 0 0 0 0,2 3 0 0 0,0 0 0 0 0,0 3 0 0 0,-2 0 0 0 0,3-1 0 0 0,-1-1 0 0 0,0-4 0 0 0,1-2 0 0 0,0-1 0 0 0,2 1 0 0 0,0-3 0 0 0,-2 0 0 0 0,1 1 0 0 0,0 0 0 0 0,-1 2 0 0 0,-2 1 0 0 0,-4-2 0 0 0,-2-1 0 0 0,-3 3 0 0 0,-6 0 0 0 0,-3-1 0 0 0</inkml:trace>
</inkml:ink>
</file>

<file path=ppt/ink/ink2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12-22T17:16:33.046"/>
    </inkml:context>
    <inkml:brush xml:id="br0">
      <inkml:brushProperty name="width" value="0.3" units="cm"/>
      <inkml:brushProperty name="height" value="0.6" units="cm"/>
      <inkml:brushProperty name="color" value="#00F900"/>
      <inkml:brushProperty name="tip" value="rectangle"/>
      <inkml:brushProperty name="rasterOp" value="maskPen"/>
    </inkml:brush>
  </inkml:definitions>
  <inkml:trace contextRef="#ctx0" brushRef="#br0">22177 9107 16383 0 0,'-9'6'0'0'0,"10"-4"0"0"0,5-3 0 0 0,6-3 0 0 0,0-4 0 0 0,1 0 0 0 0,-2-2 0 0 0,-2 4 0 0 0,-4-1 0 0 0,-4 2 0 0 0,-6 2 0 0 0,-4-2 0 0 0,-4 0 0 0 0,-7 1 0 0 0,-9 1 0 0 0,-7 4 0 0 0,-8 2 0 0 0,-8 0 0 0 0,-8 2 0 0 0,-7 1 0 0 0,-4-1 0 0 0,-2-2 0 0 0,0 0 0 0 0,2-2 0 0 0,-1 0 0 0 0,-4-1 0 0 0,-5 0 0 0 0,-5 0 0 0 0,-4-1 0 0 0,2 1 0 0 0,4 0 0 0 0,1 0 0 0 0,3 0 0 0 0,3 0 0 0 0,2 0 0 0 0,0 2 0 0 0,-1 2 0 0 0,2-1 0 0 0,3 3 0 0 0,2-1 0 0 0,6-3 0 0 0,7-2 0 0 0,6-4 0 0 0,3 2 0 0 0,4-2 0 0 0,2 0 0 0 0,-1 1 0 0 0,-1 0 0 0 0,-2 1 0 0 0,3 1 0 0 0,2-2 0 0 0,2 0 0 0 0,3-3 0 0 0,5 0 0 0 0,1 0 0 0 0,4 0 0 0 0,3 0 0 0 0,2-2 0 0 0,3 1 0 0 0,3-1 0 0 0,2 1 0 0 0,1-2 0 0 0,1-1 0 0 0,3-2 0 0 0,0 1 0 0 0,1 0 0 0 0,1-1 0 0 0,5 2 0 0 0,5 2 0 0 0,4 5 0 0 0,6 4 0 0 0,5 1 0 0 0,6 3 0 0 0,3 0 0 0 0,5 0 0 0 0,4-1 0 0 0,5 2 0 0 0,5 2 0 0 0,5-1 0 0 0,7 2 0 0 0,4 0 0 0 0,5-3 0 0 0,1-4 0 0 0,-3-3 0 0 0,-2-1 0 0 0,-2-1 0 0 0,-3 1 0 0 0,-1-2 0 0 0,0-1 0 0 0,0 1 0 0 0,2 1 0 0 0,3 1 0 0 0,0 1 0 0 0,-2-2 0 0 0,-2-1 0 0 0,-4-2 0 0 0,-3 0 0 0 0,-5 1 0 0 0,-6 1 0 0 0,-4 2 0 0 0,-1 0 0 0 0,-1 2 0 0 0,2-1 0 0 0,1 2 0 0 0,1-1 0 0 0,0 0 0 0 0,3-2 0 0 0,1-2 0 0 0,-1 1 0 0 0,-3 0 0 0 0,-2 4 0 0 0,-3 1 0 0 0,-2 4 0 0 0,-3 0 0 0 0,-2-1 0 0 0,0-1 0 0 0,0-4 0 0 0,1 1 0 0 0,-2 0 0 0 0,0 3 0 0 0,-2 0 0 0 0,1 2 0 0 0,0 1 0 0 0,-1-1 0 0 0,1-2 0 0 0,-2 1 0 0 0,1 0 0 0 0,-2-4 0 0 0,-1 1 0 0 0,-3 0 0 0 0,-1 0 0 0 0,-1-1 0 0 0,-1 0 0 0 0,0-1 0 0 0,-1 0 0 0 0,1 0 0 0 0,-1-3 0 0 0,1 0 0 0 0,-1-1 0 0 0,1 2 0 0 0,0 0 0 0 0,-3-2 0 0 0,-1-1 0 0 0,0 2 0 0 0,-1-3 0 0 0,-4 4 0 0 0,-4 1 0 0 0,-7 1 0 0 0,-4-2 0 0 0,-7-1 0 0 0,-4 0 0 0 0,-5 1 0 0 0,-6 3 0 0 0,-2 2 0 0 0,-4 0 0 0 0,-3-1 0 0 0,-7 0 0 0 0,-11 0 0 0 0,-12-2 0 0 0,-11 1 0 0 0,-4-1 0 0 0,-5-3 0 0 0,-3-1 0 0 0,0-2 0 0 0,3 0 0 0 0,3 0 0 0 0,6 0 0 0 0,-1-1 0 0 0,4 0 0 0 0,3-3 0 0 0,5-2 0 0 0,5 2 0 0 0,3-2 0 0 0,1 3 0 0 0,0 2 0 0 0,-4 0 0 0 0,-3 1 0 0 0,-5-2 0 0 0,0 2 0 0 0,1 1 0 0 0,2 4 0 0 0,2 5 0 0 0,2 2 0 0 0,-2 0 0 0 0,-6 1 0 0 0,-3 3 0 0 0,-5-1 0 0 0,0-2 0 0 0,1-1 0 0 0,3-6 0 0 0,6-2 0 0 0,3 2 0 0 0,-2 1 0 0 0,-1 0 0 0 0,-8 3 0 0 0,-7 0 0 0 0,-1 3 0 0 0,-3 0 0 0 0,0-2 0 0 0,3-1 0 0 0,0-1 0 0 0,-2 1 0 0 0,-1 0 0 0 0,-3 3 0 0 0,3-4 0 0 0,-1 1 0 0 0,5-3 0 0 0,4-1 0 0 0,-1 1 0 0 0,-2 1 0 0 0,-3 0 0 0 0,-2 3 0 0 0,-2 0 0 0 0,-2-1 0 0 0,-1-1 0 0 0,-3 2 0 0 0,-1 0 0 0 0,-2-1 0 0 0,0-1 0 0 0,-3-4 0 0 0,2 1 0 0 0,-2 1 0 0 0,2 2 0 0 0,-4 1 0 0 0,2 0 0 0 0,6-1 0 0 0,7-1 0 0 0,7 0 0 0 0,7-2 0 0 0,7 1 0 0 0,3-1 0 0 0,7-3 0 0 0,4-1 0 0 0,4 0 0 0 0,0-1 0 0 0,0-1 0 0 0,0 2 0 0 0,-1 0 0 0 0,4 2 0 0 0,2 1 0 0 0,4 0 0 0 0,3 1 0 0 0,4-2 0 0 0,5-2 0 0 0,2 1 0 0 0,4 1 0 0 0,0 0 0 0 0,3 1 0 0 0,1 0 0 0 0,2 1 0 0 0,2 2 0 0 0,0 2 0 0 0,4-3 0 0 0,-1 1 0 0 0,-2 0 0 0 0,0 0 0 0 0,2 2 0 0 0,2 1 0 0 0,4-1 0 0 0,7-1 0 0 0,7-1 0 0 0,15-1 0 0 0,4 0 0 0 0</inkml:trace>
</inkml:ink>
</file>

<file path=ppt/ink/ink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12-22T17:16:33.020"/>
    </inkml:context>
    <inkml:brush xml:id="br0">
      <inkml:brushProperty name="width" value="0.3" units="cm"/>
      <inkml:brushProperty name="height" value="0.6" units="cm"/>
      <inkml:brushProperty name="color" value="#FF2500"/>
      <inkml:brushProperty name="tip" value="rectangle"/>
      <inkml:brushProperty name="rasterOp" value="maskPen"/>
    </inkml:brush>
  </inkml:definitions>
  <inkml:trace contextRef="#ctx0" brushRef="#br0">14351 8798 16383 0 0,'-3'-6'0'0'0,"2"15"0"0"0,4 16 0 0 0,4 15 0 0 0,1 14 0 0 0,1 12 0 0 0,3 7 0 0 0,1 5 0 0 0,2 8 0 0 0,0 8 0 0 0,1 7 0 0 0,-3 5 0 0 0,0 1 0 0 0,-3-5 0 0 0,-3-8 0 0 0,-2-13 0 0 0,-3-17 0 0 0,-4-20 0 0 0,1-16 0 0 0,-2-23 0 0 0,0-16 0 0 0,-1-15 0 0 0,2-13 0 0 0,0-12 0 0 0,1-12 0 0 0,1-12 0 0 0,-3-10 0 0 0,-1-5 0 0 0,-2-5 0 0 0,0-4 0 0 0,1-2 0 0 0,1 0 0 0 0,-1 2 0 0 0,0 1 0 0 0,-2 3 0 0 0,1 8 0 0 0,1 8 0 0 0,1 9 0 0 0,2 11 0 0 0,-2 11 0 0 0,0 7 0 0 0,-3 11 0 0 0,1 8 0 0 0,-1 8 0 0 0,-1 14 0 0 0,0 10 0 0 0,0 8 0 0 0,0 7 0 0 0,0 5 0 0 0,2 4 0 0 0,0 3 0 0 0,0 3 0 0 0,1 5 0 0 0,2 8 0 0 0,-1 12 0 0 0,-1 8 0 0 0,-1 5 0 0 0,-1 0 0 0 0,5 0 0 0 0,2-5 0 0 0,4-10 0 0 0,1-9 0 0 0,0-10 0 0 0,1-9 0 0 0,3-8 0 0 0,0-5 0 0 0,1-8 0 0 0,1-2 0 0 0,-1-1 0 0 0,-2 0 0 0 0,-3 1 0 0 0,-1 2 0 0 0,-3 0 0 0 0,0 1 0 0 0,-4-2 0 0 0,2-4 0 0 0,0-10 0 0 0,2-12 0 0 0,-1-8 0 0 0,0-6 0 0 0,-2-1 0 0 0,-1-2 0 0 0,-3 0 0 0 0,-3-1 0 0 0,-2 2 0 0 0,-3 1 0 0 0,-1 0 0 0 0,-1-4 0 0 0,0 1 0 0 0,-3 3 0 0 0,-1-1 0 0 0,0-2 0 0 0,1 2 0 0 0,2 4 0 0 0,2-1 0 0 0,-1 3 0 0 0,3 2 0 0 0,3 2 0 0 0,3 2 0 0 0,0 3 0 0 0,5 10 0 0 0,1 10 0 0 0,2 8 0 0 0,3 6 0 0 0,1 6 0 0 0,0 3 0 0 0,1 2 0 0 0,0 4 0 0 0,-1 2 0 0 0,1-1 0 0 0,3 0 0 0 0,2-2 0 0 0,2-3 0 0 0,1-2 0 0 0,1-1 0 0 0,1 1 0 0 0,1 0 0 0 0,1 2 0 0 0,0-3 0 0 0,0-3 0 0 0,-2-4 0 0 0,-1-1 0 0 0,0-6 0 0 0,-1-4 0 0 0,1-4 0 0 0,0-6 0 0 0,0-8 0 0 0,1-6 0 0 0,-1-5 0 0 0,1-3 0 0 0,-3-5 0 0 0,0-3 0 0 0,-1-6 0 0 0,1-3 0 0 0,-2-4 0 0 0,0-6 0 0 0,1-4 0 0 0,-2-5 0 0 0,1 0 0 0 0,0 2 0 0 0,-1 5 0 0 0,0 2 0 0 0,-2 8 0 0 0,-1 8 0 0 0,0 9 0 0 0,-1 18 0 0 0,1 11 0 0 0,-1 9 0 0 0,-1 6 0 0 0,-1 6 0 0 0,-2 6 0 0 0,-4 6 0 0 0,-1 10 0 0 0,0 10 0 0 0,-3 11 0 0 0,0 8 0 0 0,-1 6 0 0 0,-3 3 0 0 0,-2-2 0 0 0,1-5 0 0 0,2-8 0 0 0,3-11 0 0 0,2-10 0 0 0,2-10 0 0 0,2-10 0 0 0,3-21 0 0 0,3-17 0 0 0,2-13 0 0 0,1-10 0 0 0,0-6 0 0 0,0-4 0 0 0,2-4 0 0 0,2-5 0 0 0,1-1 0 0 0,3-1 0 0 0,2 1 0 0 0,1-2 0 0 0,-1 0 0 0 0,1 1 0 0 0,-2 1 0 0 0,-1 5 0 0 0,-1 3 0 0 0,-4 8 0 0 0,-3 3 0 0 0,-4 3 0 0 0,1 0 0 0 0,1 0 0 0 0,0 0 0 0 0,1-1 0 0 0,2-1 0 0 0,0 0 0 0 0,0-1 0 0 0,2 1 0 0 0,0-4 0 0 0,0 3 0 0 0,-4 0 0 0 0,-2 4 0 0 0,-2 3 0 0 0,-3 4 0 0 0,-3 5 0 0 0,-2 3 0 0 0,-2 3 0 0 0,-6 4 0 0 0,-4 3 0 0 0,-1 1 0 0 0,-1 4 0 0 0,-3 5 0 0 0,0 4 0 0 0,-2 2 0 0 0,-3 7 0 0 0,-2 6 0 0 0,-4 6 0 0 0,-2 9 0 0 0,-1 8 0 0 0,0 8 0 0 0,1 7 0 0 0,1 7 0 0 0,0 6 0 0 0,4 3 0 0 0,3-2 0 0 0,4 0 0 0 0,3 0 0 0 0,2-3 0 0 0,4-3 0 0 0,4-5 0 0 0,6-5 0 0 0,4-3 0 0 0,4-5 0 0 0,5-6 0 0 0,2-5 0 0 0,2-5 0 0 0,2-6 0 0 0,1-4 0 0 0,-4 0 0 0 0,-2-3 0 0 0,-2-3 0 0 0,1-5 0 0 0,4 0 0 0 0,6-3 0 0 0,1-4 0 0 0,0-6 0 0 0,-1-7 0 0 0,1-8 0 0 0,4-2 0 0 0,1-4 0 0 0,3-5 0 0 0,-1-1 0 0 0,-1-2 0 0 0,-1-3 0 0 0,-3-1 0 0 0,-3-4 0 0 0,-1-2 0 0 0,-5-5 0 0 0,-4-5 0 0 0,-4-7 0 0 0,-4-9 0 0 0,-1-4 0 0 0,-4-3 0 0 0,-4 3 0 0 0,-3 2 0 0 0,-3 3 0 0 0,-5 7 0 0 0,-2 6 0 0 0,-2 7 0 0 0,-4 4 0 0 0,-2 3 0 0 0,1-1 0 0 0,-1-3 0 0 0,2-2 0 0 0,1-4 0 0 0,0 0 0 0 0,1 6 0 0 0,3 3 0 0 0,3 7 0 0 0,5 11 0 0 0,7 9 0 0 0,7 10 0 0 0,6 8 0 0 0,2 7 0 0 0,3 6 0 0 0,1 7 0 0 0,1 6 0 0 0,1 2 0 0 0,-2 3 0 0 0,0 5 0 0 0,-3 7 0 0 0,0 6 0 0 0,-2 4 0 0 0,-2-2 0 0 0,-3-3 0 0 0,-1-1 0 0 0,2 4 0 0 0,0 1 0 0 0,-1 4 0 0 0,-1 3 0 0 0,2 2 0 0 0,1 1 0 0 0,1-1 0 0 0,3 1 0 0 0,0-2 0 0 0,-2 2 0 0 0,1-2 0 0 0,-1 3 0 0 0,1 0 0 0 0,-1 1 0 0 0,1 1 0 0 0,2-2 0 0 0,-1 1 0 0 0,1-3 0 0 0,-1-5 0 0 0,0-3 0 0 0,-1-2 0 0 0,-2-6 0 0 0,0-4 0 0 0,0-3 0 0 0,-2-5 0 0 0,-1-4 0 0 0,-3-9 0 0 0,-3-18 0 0 0,-3-17 0 0 0,0-9 0 0 0,-3-12 0 0 0,1-9 0 0 0,2-7 0 0 0,-1-4 0 0 0,-2-6 0 0 0,-2-5 0 0 0,-2-3 0 0 0,-4-5 0 0 0,-2-6 0 0 0,0-1 0 0 0,-3-2 0 0 0,-2-2 0 0 0,-3-4 0 0 0,-5-3 0 0 0,-2-3 0 0 0,-1 0 0 0 0,3 0 0 0 0,1 4 0 0 0,7 8 0 0 0,4 9 0 0 0,0 9 0 0 0,1 8 0 0 0,3 5 0 0 0,0 7 0 0 0,-1 6 0 0 0,1 9 0 0 0,-4 7 0 0 0,1 6 0 0 0,2 6 0 0 0,4 8 0 0 0,5 3 0 0 0,6 7 0 0 0,4 5 0 0 0,6 5 0 0 0,5 5 0 0 0,3 6 0 0 0,4 4 0 0 0,1 3 0 0 0,3 2 0 0 0,-1 4 0 0 0,-1 3 0 0 0,1 10 0 0 0,2 4 0 0 0,5 6 0 0 0,3 5 0 0 0,3 5 0 0 0,4-2 0 0 0,1-1 0 0 0,-2-3 0 0 0,-2-2 0 0 0,-4-3 0 0 0,-5-3 0 0 0,-3 0 0 0 0,-2-4 0 0 0,-2-2 0 0 0,-3-5 0 0 0,-1-6 0 0 0,-1-7 0 0 0,-3-6 0 0 0,-2-4 0 0 0,1-6 0 0 0,-2-6 0 0 0,0-3 0 0 0,-2-3 0 0 0,1-2 0 0 0,-1-1 0 0 0,-3 0 0 0 0,-1-1 0 0 0,-2 1 0 0 0,-4-2 0 0 0,-4-9 0 0 0,-4-8 0 0 0,-2-9 0 0 0,0-4 0 0 0,-1-8 0 0 0,0-5 0 0 0,-1-2 0 0 0,0-2 0 0 0,-2-3 0 0 0,-2-3 0 0 0,-1-2 0 0 0,-3-6 0 0 0,-3-2 0 0 0,-3-9 0 0 0,-1-8 0 0 0,-2-6 0 0 0,-1-1 0 0 0,0-2 0 0 0,0 2 0 0 0,2 5 0 0 0,2 4 0 0 0,2 2 0 0 0,1 3 0 0 0,-2 2 0 0 0,0 2 0 0 0,0 3 0 0 0,4 2 0 0 0,1 5 0 0 0,3 4 0 0 0,2 5 0 0 0,3 5 0 0 0,2 6 0 0 0,0 4 0 0 0,3 9 0 0 0,-1 7 0 0 0,2 6 0 0 0,4 7 0 0 0,4 7 0 0 0,4 4 0 0 0,2 7 0 0 0,2 4 0 0 0,-1 6 0 0 0,5 2 0 0 0,3 3 0 0 0,1 5 0 0 0,0 6 0 0 0,1 5 0 0 0,0 6 0 0 0,3 7 0 0 0,2 4 0 0 0,4 6 0 0 0,5 6 0 0 0,3 2 0 0 0,1-1 0 0 0,-3 2 0 0 0,-4-2 0 0 0,-2-3 0 0 0,1-4 0 0 0,-2-6 0 0 0,-3-5 0 0 0,-2-7 0 0 0,-4-2 0 0 0,-3-3 0 0 0,-3-6 0 0 0,-4-6 0 0 0,1-6 0 0 0,-2-3 0 0 0,-1-5 0 0 0,-2-5 0 0 0,0-4 0 0 0,-2 0 0 0 0,0 1 0 0 0,0 3 0 0 0,0 0 0 0 0,-1-2 0 0 0,1-3 0 0 0,-3-6 0 0 0,0-9 0 0 0,-1-8 0 0 0,-1-8 0 0 0,-4-9 0 0 0,1-8 0 0 0,-1-10 0 0 0,-2-7 0 0 0,-2-7 0 0 0,-1-7 0 0 0,-1-5 0 0 0,-4-5 0 0 0,0-4 0 0 0,-4-6 0 0 0,-2-2 0 0 0,0-2 0 0 0,-3-5 0 0 0,-4-4 0 0 0,0-2 0 0 0,2 1 0 0 0,1 4 0 0 0,2 2 0 0 0,1 4 0 0 0,2 7 0 0 0,2 3 0 0 0,5 1 0 0 0,3 5 0 0 0,4 2 0 0 0,0 5 0 0 0,3 4 0 0 0,2 7 0 0 0,-1 5 0 0 0,1 6 0 0 0,1 6 0 0 0,-1 6 0 0 0,-1 13 0 0 0,2 14 0 0 0,4 14 0 0 0,4 14 0 0 0,2 9 0 0 0,3 9 0 0 0,2 8 0 0 0,2 4 0 0 0,1 7 0 0 0,2 7 0 0 0,0 6 0 0 0,0 7 0 0 0,0 5 0 0 0,-2 4 0 0 0,1 7 0 0 0,1 5 0 0 0,1 3 0 0 0,-1 2 0 0 0,1-6 0 0 0,-1 0 0 0 0,3-9 0 0 0,1-10 0 0 0,2-6 0 0 0,0-6 0 0 0,-1 0 0 0 0,1-2 0 0 0,0 1 0 0 0,-1 0 0 0 0,-2-1 0 0 0,-1-3 0 0 0,-4-1 0 0 0,-1-6 0 0 0,-1-5 0 0 0,1-7 0 0 0,-2-4 0 0 0,0-2 0 0 0,0-3 0 0 0,2-1 0 0 0,1-2 0 0 0,-3-2 0 0 0,1-5 0 0 0,-2-2 0 0 0,-3-1 0 0 0,-3-3 0 0 0,-4-6 0 0 0,-3-17 0 0 0,0-11 0 0 0,0-10 0 0 0,-2-8 0 0 0,2-4 0 0 0,2-3 0 0 0,1-3 0 0 0,1-7 0 0 0,2-7 0 0 0,2-5 0 0 0,-2-7 0 0 0,3-9 0 0 0,3-8 0 0 0,2-11 0 0 0,-1-7 0 0 0,1-7 0 0 0,1-7 0 0 0,4-4 0 0 0,5 0 0 0 0,1 0 0 0 0,2-2 0 0 0,-2 0 0 0 0,0 2 0 0 0,-2 3 0 0 0,0 8 0 0 0,-2 11 0 0 0,-1 10 0 0 0,2 12 0 0 0,1 12 0 0 0,2 11 0 0 0,0 13 0 0 0,-2 13 0 0 0,0 13 0 0 0,-2 10 0 0 0,-3 11 0 0 0,-5 9 0 0 0,-4 11 0 0 0,-3 8 0 0 0,-4 9 0 0 0,-3 8 0 0 0,0 7 0 0 0,-2 4 0 0 0,-3 3 0 0 0,-3-1 0 0 0,-1 1 0 0 0,-2 0 0 0 0,-1 1 0 0 0,0-1 0 0 0,0-2 0 0 0,-1-2 0 0 0,1-2 0 0 0,3 0 0 0 0,0 1 0 0 0,4-2 0 0 0,2-4 0 0 0,0-4 0 0 0,-2-7 0 0 0,2-8 0 0 0,1-6 0 0 0,1-6 0 0 0,3-6 0 0 0,0-4 0 0 0,-1-4 0 0 0,-3-6 0 0 0,-1-10 0 0 0,2-6 0 0 0,-2-6 0 0 0,0-3 0 0 0,2-4 0 0 0,1-4 0 0 0,0-3 0 0 0,-1-6 0 0 0,1-4 0 0 0,1-10 0 0 0,2-8 0 0 0,0-5 0 0 0,-2-6 0 0 0,-1-4 0 0 0,1-5 0 0 0,-2-3 0 0 0,-1 2 0 0 0,2-3 0 0 0,1-7 0 0 0,1-4 0 0 0,0-2 0 0 0,2 1 0 0 0,0-2 0 0 0,0 5 0 0 0,0 6 0 0 0,0 7 0 0 0,-2 7 0 0 0,-4 11 0 0 0,-1 6 0 0 0,-2 10 0 0 0,1 9 0 0 0,-1 4 0 0 0,-2 7 0 0 0,-2 8 0 0 0,-1 5 0 0 0,2 12 0 0 0,0 12 0 0 0,0 7 0 0 0,1 8 0 0 0,3 11 0 0 0,3 10 0 0 0,2 7 0 0 0,1 5 0 0 0,5 2 0 0 0,1 4 0 0 0,2 2 0 0 0,1 3 0 0 0,-1 5 0 0 0,-4 0 0 0 0,-3-1 0 0 0,2-3 0 0 0,-2-1 0 0 0,-1-5 0 0 0,0-6 0 0 0,0-9 0 0 0,1-9 0 0 0,-3-8 0 0 0,-3-23 0 0 0,-3-21 0 0 0,1-15 0 0 0,-2-12 0 0 0,-1-9 0 0 0,1-8 0 0 0,0-5 0 0 0,-3-8 0 0 0,-3-12 0 0 0,-3-8 0 0 0,-4-8 0 0 0,0-3 0 0 0,4-2 0 0 0,2-2 0 0 0,5 1 0 0 0,1 3 0 0 0,1 4 0 0 0,-2 4 0 0 0,3 3 0 0 0,2 3 0 0 0,3 1 0 0 0,2 3 0 0 0,-1 1 0 0 0,0 6 0 0 0,1 6 0 0 0,1 8 0 0 0,1 6 0 0 0,-3 6 0 0 0,0 4 0 0 0,-2 7 0 0 0,3 6 0 0 0,-2 7 0 0 0,1 15 0 0 0,1 14 0 0 0,1 10 0 0 0,1 7 0 0 0,0 2 0 0 0,1 1 0 0 0,0 1 0 0 0,0 1 0 0 0,-2 0 0 0 0,-5 0 0 0 0,-2 0 0 0 0,-3 0 0 0 0,-3-1 0 0 0,0 1 0 0 0,-1-3 0 0 0,-1-1 0 0 0,1-5 0 0 0,-1-4 0 0 0,4-2 0 0 0,0-5 0 0 0,1-4 0 0 0,-1 0 0 0 0,-1-2 0 0 0,-1-2 0 0 0,3-4 0 0 0,0-3 0 0 0,5-2 0 0 0,1-2 0 0 0,1-1 0 0 0,2-3 0 0 0,2-1 0 0 0,2-3 0 0 0,6 3 0 0 0,2 2 0 0 0,4 1 0 0 0,2 2 0 0 0,1-4 0 0 0,0 1 0 0 0,1 1 0 0 0,2 3 0 0 0,1 5 0 0 0,-1 2 0 0 0,3 4 0 0 0,5 4 0 0 0,8 1 0 0 0,8 0 0 0 0,5-1 0 0 0,7 1 0 0 0,1 1 0 0 0,0 2 0 0 0,-5 1 0 0 0,-8-2 0 0 0,-8-3 0 0 0,-9-3 0 0 0,-4 1 0 0 0,-5-2 0 0 0,-2-1 0 0 0,0 1 0 0 0,-4 3 0 0 0,-3 2 0 0 0,-3 3 0 0 0,-5 3 0 0 0,-3 6 0 0 0,-3 4 0 0 0,-1 2 0 0 0,1 3 0 0 0,2 1 0 0 0,0 0 0 0 0,3 1 0 0 0,0 2 0 0 0,3 3 0 0 0,-1 4 0 0 0,-1 2 0 0 0,3 2 0 0 0,0 2 0 0 0,-1-1 0 0 0,1-1 0 0 0,-2-5 0 0 0,0 0 0 0 0,0 1 0 0 0,-1 1 0 0 0,-2 1 0 0 0,-2 5 0 0 0,-2 3 0 0 0,-1 8 0 0 0,-1 6 0 0 0,0 3 0 0 0,0 0 0 0 0,0-3 0 0 0,-1 1 0 0 0,-1 1 0 0 0,0 1 0 0 0,0 2 0 0 0,-1 5 0 0 0,-2 3 0 0 0,2 4 0 0 0,0 4 0 0 0,-1 1 0 0 0,-1 1 0 0 0,-2-1 0 0 0,1 1 0 0 0,-2 4 0 0 0,0 2 0 0 0,1 2 0 0 0,-1-1 0 0 0,2 1 0 0 0,2-1 0 0 0,-1 2 0 0 0,3 4 0 0 0,2 0 0 0 0,6-1 0 0 0,0-2 0 0 0,3-4 0 0 0,2-7 0 0 0,0-11 0 0 0,0-10 0 0 0,1-9 0 0 0,1-11 0 0 0,-1-9 0 0 0,2-8 0 0 0,0-6 0 0 0,-2-18 0 0 0,0-15 0 0 0,-2-17 0 0 0,-1-15 0 0 0,-4-12 0 0 0,0-6 0 0 0,-3-10 0 0 0,-1-7 0 0 0,-1-12 0 0 0,0-20 0 0 0,5-30 0 0 0,2-34 0 0 0,7-31 0 0 0,8-21 0 0 0,4-13 0 0 0,2-3 0 0 0,0 3 0 0 0,-1 16 0 0 0,0 24 0 0 0,-5 21 0 0 0,-3 27 0 0 0,-5 23 0 0 0,-5 22 0 0 0,-3 18 0 0 0,-4 18 0 0 0,-4 16 0 0 0,-2 13 0 0 0,-2 11 0 0 0,-2 11 0 0 0,0 7 0 0 0,-1 9 0 0 0,3 7 0 0 0,1 5 0 0 0,3 3 0 0 0,3 5 0 0 0,0 2 0 0 0,1 3 0 0 0,2 2 0 0 0,1 2 0 0 0,-1 5 0 0 0,-3 5 0 0 0,-2 6 0 0 0,-4 4 0 0 0,2 7 0 0 0,-1 6 0 0 0,0 2 0 0 0,-2 1 0 0 0,0 2 0 0 0,1-1 0 0 0,1-1 0 0 0,-3 1 0 0 0,-1-2 0 0 0,-2 1 0 0 0,1 2 0 0 0,-1 3 0 0 0,2 2 0 0 0,-1 1 0 0 0,1-1 0 0 0,0-1 0 0 0,0 0 0 0 0,3 0 0 0 0,1 0 0 0 0,0 6 0 0 0,1 2 0 0 0,4 2 0 0 0,5 1 0 0 0,2-4 0 0 0,5-2 0 0 0,4-5 0 0 0,3-6 0 0 0,-1-5 0 0 0,1-2 0 0 0,1-3 0 0 0,1 0 0 0 0,1-1 0 0 0,0 1 0 0 0,-2 0 0 0 0,-1-1 0 0 0,1-3 0 0 0,0 0 0 0 0,1-4 0 0 0,1-2 0 0 0,-3-3 0 0 0,0-5 0 0 0,-2-5 0 0 0,-3-3 0 0 0,0-8 0 0 0,2-6 0 0 0,-2-9 0 0 0,0-8 0 0 0,0-6 0 0 0,-4-4 0 0 0,-2-2 0 0 0,-1-5 0 0 0,-3-1 0 0 0,-2-5 0 0 0,1-6 0 0 0,-3-9 0 0 0,1-13 0 0 0,-1-16 0 0 0,-6-16 0 0 0,-2-11 0 0 0,-2-11 0 0 0,2-11 0 0 0,1-13 0 0 0,0-10 0 0 0,0-8 0 0 0,-1-5 0 0 0,3-1 0 0 0,0 2 0 0 0,3 4 0 0 0,2 7 0 0 0,3 13 0 0 0,2 12 0 0 0,1 16 0 0 0,1 11 0 0 0,-3 13 0 0 0,0 10 0 0 0,1 7 0 0 0,-1 10 0 0 0,-1 7 0 0 0,-1 7 0 0 0,1 6 0 0 0,4 8 0 0 0,4 22 0 0 0,2 20 0 0 0,3 13 0 0 0,1 13 0 0 0,3 12 0 0 0,2 10 0 0 0,0 4 0 0 0,4 3 0 0 0,3 6 0 0 0,4 5 0 0 0,3 7 0 0 0,1 9 0 0 0,2 9 0 0 0,0 7 0 0 0,1 6 0 0 0,2 3 0 0 0,3 1 0 0 0,4 4 0 0 0,2 6 0 0 0,2 4 0 0 0,-4 3 0 0 0,-4 5 0 0 0,-3 5 0 0 0,-5-2 0 0 0,-5-3 0 0 0,-3-6 0 0 0,-4-5 0 0 0,-4-4 0 0 0,-5-10 0 0 0,-1-9 0 0 0,1-11 0 0 0,-2-10 0 0 0,-1-9 0 0 0,-2-13 0 0 0,-2-6 0 0 0,-4-2 0 0 0,-1-6 0 0 0,-3-10 0 0 0,-4-11 0 0 0,1-17 0 0 0,1-17 0 0 0,3-17 0 0 0,-1-15 0 0 0,0-15 0 0 0,2-14 0 0 0,-2-10 0 0 0,1-8 0 0 0,-5-3 0 0 0,0-8 0 0 0,-1-13 0 0 0,-2-14 0 0 0,-3-14 0 0 0,0-12 0 0 0,-2-10 0 0 0,2-8 0 0 0,1-7 0 0 0,5-3 0 0 0,6 2 0 0 0,4 3 0 0 0,7 3 0 0 0,3 5 0 0 0,7 10 0 0 0,2 11 0 0 0,3 14 0 0 0,2 17 0 0 0,-5 21 0 0 0,-2 19 0 0 0,-4 31 0 0 0,-4 26 0 0 0,-4 22 0 0 0,-3 20 0 0 0,-1 13 0 0 0,1 8 0 0 0,1 1 0 0 0,2-1 0 0 0,1-2 0 0 0,4 1 0 0 0,4 1 0 0 0,4 7 0 0 0,2 9 0 0 0,-3 10 0 0 0,0 11 0 0 0,-5 8 0 0 0,-3 5 0 0 0,-7 3 0 0 0,-2 5 0 0 0,-3-2 0 0 0,-2 0 0 0 0,-4-5 0 0 0,0-3 0 0 0,-1-4 0 0 0,-2-3 0 0 0,-1 1 0 0 0,-2 2 0 0 0,3 3 0 0 0,-3 2 0 0 0,-1-3 0 0 0,-1-3 0 0 0,3-3 0 0 0,0-1 0 0 0,1-1 0 0 0,0-3 0 0 0,1-2 0 0 0,1-2 0 0 0,-1-3 0 0 0,0-4 0 0 0,0-4 0 0 0,1-3 0 0 0,2-5 0 0 0,0-2 0 0 0,1-2 0 0 0,2-1 0 0 0,3-2 0 0 0,0-5 0 0 0,3-4 0 0 0,-1-6 0 0 0,2-3 0 0 0,-4-4 0 0 0,0-2 0 0 0,-3-1 0 0 0,0-1 0 0 0,-2-1 0 0 0,-2-1 0 0 0,-2-4 0 0 0,1-4 0 0 0,-1-6 0 0 0,0-8 0 0 0,1-10 0 0 0,1-11 0 0 0,4-9 0 0 0,3-10 0 0 0,2-9 0 0 0,1-5 0 0 0,1-6 0 0 0,0-7 0 0 0,0-4 0 0 0,-3-2 0 0 0,-4-8 0 0 0,-3-11 0 0 0,-3-15 0 0 0,-5-19 0 0 0,0-20 0 0 0,-1-18 0 0 0,-2-20 0 0 0,1-14 0 0 0,3-14 0 0 0,8-10 0 0 0,4-5 0 0 0,6 3 0 0 0,8 4 0 0 0,5 9 0 0 0,3 14 0 0 0,-2 16 0 0 0,-1 19 0 0 0,-1 24 0 0 0,-4 25 0 0 0,-2 24 0 0 0,-5 24 0 0 0,-3 27 0 0 0,1 27 0 0 0,-2 22 0 0 0,-1 14 0 0 0,0 12 0 0 0,-3 8 0 0 0,0 9 0 0 0,-2 2 0 0 0,0 5 0 0 0,-1 2 0 0 0,1 2 0 0 0,-2 2 0 0 0,-1 5 0 0 0,-3 6 0 0 0,0 3 0 0 0,-5 1 0 0 0,-1 2 0 0 0,0 0 0 0 0,-3 6 0 0 0,1 3 0 0 0,-3 4 0 0 0,1 1 0 0 0,2 1 0 0 0,1 1 0 0 0,1 0 0 0 0,2-1 0 0 0,4 0 0 0 0,0-5 0 0 0,4-8 0 0 0,2-6 0 0 0,1-9 0 0 0,0-5 0 0 0,2-5 0 0 0,-1-1 0 0 0,-3-2 0 0 0,1-6 0 0 0,1-4 0 0 0,1-9 0 0 0,2-8 0 0 0,2-11 0 0 0,0-7 0 0 0,4-5 0 0 0,0-4 0 0 0,1-1 0 0 0,2-4 0 0 0,0-14 0 0 0,-4-12 0 0 0,-2-9 0 0 0,-4-8 0 0 0,-1-7 0 0 0,-3-8 0 0 0,1-9 0 0 0,-2-11 0 0 0,1-10 0 0 0,2-11 0 0 0,1-7 0 0 0,3-8 0 0 0,-2-6 0 0 0,-3-6 0 0 0,0-4 0 0 0,4-2 0 0 0,2-1 0 0 0,2 2 0 0 0,3 4 0 0 0,1 4 0 0 0,2 4 0 0 0,3 5 0 0 0,2 6 0 0 0,2 9 0 0 0,-2 9 0 0 0,0 12 0 0 0,-1 13 0 0 0,-2 12 0 0 0,2 13 0 0 0,2 15 0 0 0,0 15 0 0 0,-1 12 0 0 0,-3 10 0 0 0,0 9 0 0 0,-2 12 0 0 0,-2 10 0 0 0,-2 11 0 0 0,1 11 0 0 0,1 9 0 0 0,1 9 0 0 0,3 4 0 0 0,2 4 0 0 0,-1 4 0 0 0,4 5 0 0 0,-1 6 0 0 0,-2 4 0 0 0,-4 0 0 0 0,-2-2 0 0 0,-3-4 0 0 0,-1-9 0 0 0,-1-9 0 0 0,0-10 0 0 0,-1-9 0 0 0,1-7 0 0 0,-1-8 0 0 0,1-6 0 0 0,0-5 0 0 0,2-6 0 0 0,4-6 0 0 0,1-6 0 0 0,-1-7 0 0 0,-1-5 0 0 0,-2-14 0 0 0,2-12 0 0 0,-3-7 0 0 0,1-5 0 0 0,-1-2 0 0 0,1-1 0 0 0,1 3 0 0 0,3 4 0 0 0,4 5 0 0 0,1 2 0 0 0,6 6 0 0 0,1 5 0 0 0,3 1 0 0 0,3 5 0 0 0,3 1 0 0 0,2 3 0 0 0,1 2 0 0 0,1 0 0 0 0,0 0 0 0 0,0 0 0 0 0,-2-1 0 0 0,-2-1 0 0 0,-2-2 0 0 0,-3-5 0 0 0,-3 0 0 0 0,-2 1 0 0 0,-1-2 0 0 0,-2 1 0 0 0,-2 2 0 0 0,-1 1 0 0 0,-3 1 0 0 0,-3 2 0 0 0,1-2 0 0 0,-2-1 0 0 0,-3-2 0 0 0,-3-11 0 0 0,-1-11 0 0 0,-3-8 0 0 0,-3-9 0 0 0,-3-8 0 0 0,-5-8 0 0 0,-3-8 0 0 0,0-7 0 0 0,0-16 0 0 0,1-18 0 0 0,0-27 0 0 0,1-32 0 0 0,4-33 0 0 0,3-28 0 0 0,1-23 0 0 0,5-15 0 0 0,3-1 0 0 0,7 9 0 0 0,5 20 0 0 0,1 26 0 0 0,3 26 0 0 0,0 28 0 0 0,0 31 0 0 0,-3 31 0 0 0,-1 28 0 0 0,-5 33 0 0 0,-3 29 0 0 0,-5 18 0 0 0,-2 13 0 0 0,-1 10 0 0 0,1 5 0 0 0,4 7 0 0 0,2 6 0 0 0,3 8 0 0 0,3 8 0 0 0,3 8 0 0 0,3 10 0 0 0,-1 17 0 0 0,-1 24 0 0 0,1 28 0 0 0,-2 31 0 0 0,0 24 0 0 0,-5 14 0 0 0,-3 7 0 0 0,-2-2 0 0 0,-2-11 0 0 0,0-17 0 0 0,0-20 0 0 0,3-20 0 0 0,1-21 0 0 0,0-23 0 0 0,2-26 0 0 0,0-29 0 0 0,0-24 0 0 0,-2-30 0 0 0,-3-23 0 0 0,-2-18 0 0 0,-4-14 0 0 0,0-6 0 0 0,-2-5 0 0 0,-3-7 0 0 0,-1-4 0 0 0,-2-5 0 0 0,1-5 0 0 0,1-8 0 0 0,-1-5 0 0 0,0-6 0 0 0,1-7 0 0 0,1-11 0 0 0,2-16 0 0 0,2-27 0 0 0,3-29 0 0 0,-1-23 0 0 0,0-15 0 0 0,2-4 0 0 0,3 4 0 0 0,2 10 0 0 0,1 8 0 0 0,2 14 0 0 0,3 7 0 0 0,3 3 0 0 0,3-12 0 0 0,-2 0 0 0 0,-3 7 0 0 0,-2 9 0 0 0,-3 11 0 0 0,-5 15 0 0 0,-2 16 0 0 0,0 17 0 0 0,-1 20 0 0 0,2 15 0 0 0,3 15 0 0 0,1 12 0 0 0,1 10 0 0 0,0 8 0 0 0,-1 7 0 0 0,2 3 0 0 0,5 4 0 0 0,2 5 0 0 0</inkml:trace>
</inkml:ink>
</file>

<file path=ppt/ink/ink3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12-22T17:16:33.047"/>
    </inkml:context>
    <inkml:brush xml:id="br0">
      <inkml:brushProperty name="width" value="0.3" units="cm"/>
      <inkml:brushProperty name="height" value="0.6" units="cm"/>
      <inkml:brushProperty name="color" value="#00F900"/>
      <inkml:brushProperty name="tip" value="rectangle"/>
      <inkml:brushProperty name="rasterOp" value="maskPen"/>
    </inkml:brush>
  </inkml:definitions>
  <inkml:trace contextRef="#ctx0" brushRef="#br0">15354 9749 16383 0 0,'-3'2'0'0'0,"-11"-1"0"0"0,-7 2 0 0 0,-1 0 0 0 0,-1-1 0 0 0,2 0 0 0 0,1 0 0 0 0,4 1 0 0 0,2-2 0 0 0,1-1 0 0 0,0 0 0 0 0,0-1 0 0 0,1-3 0 0 0,6 0 0 0 0,7-3 0 0 0,5 1 0 0 0,10 0 0 0 0,11 2 0 0 0,8-1 0 0 0,12 0 0 0 0,11 1 0 0 0,15 1 0 0 0,17 1 0 0 0,16 1 0 0 0,20 1 0 0 0,16 0 0 0 0,8 3 0 0 0,5 1 0 0 0,0-3 0 0 0,-7-2 0 0 0,-10 0 0 0 0,-15-1 0 0 0,-15 4 0 0 0,-18 0 0 0 0,-16 1 0 0 0,-13-1 0 0 0,-5 0 0 0 0,-3 2 0 0 0,2 0 0 0 0,4 0 0 0 0,3 1 0 0 0,-1 1 0 0 0,0-2 0 0 0,-5 2 0 0 0,-4 0 0 0 0,-3 1 0 0 0,1 0 0 0 0,3-1 0 0 0,3 0 0 0 0,2-3 0 0 0,3-2 0 0 0,2-4 0 0 0,0-1 0 0 0,-5 0 0 0 0,-6 0 0 0 0,-8 1 0 0 0,-8 2 0 0 0,-5 0 0 0 0,-2 0 0 0 0,-3 1 0 0 0,-4 0 0 0 0,-3 1 0 0 0,-2-1 0 0 0,2 0 0 0 0,-5 0 0 0 0,-8 0 0 0 0,-8 0 0 0 0,-3-2 0 0 0,-3-2 0 0 0,-6 1 0 0 0,-7 0 0 0 0,-3 1 0 0 0,-10 3 0 0 0,-7 2 0 0 0,-9 0 0 0 0,-16 0 0 0 0,-18-1 0 0 0,-18-3 0 0 0,-20-7 0 0 0,-17-5 0 0 0,-19-6 0 0 0,-13-4 0 0 0,-6-2 0 0 0,1 2 0 0 0,7 1 0 0 0,7-1 0 0 0,10 4 0 0 0,14-1 0 0 0,16 1 0 0 0,14 1 0 0 0,15 0 0 0 0,9 2 0 0 0,10-1 0 0 0,2 4 0 0 0,4 4 0 0 0,2 3 0 0 0,2 5 0 0 0,4 3 0 0 0,0-1 0 0 0,7-1 0 0 0,5-1 0 0 0,7 0 0 0 0,4 0 0 0 0,4 1 0 0 0,1 0 0 0 0,1-1 0 0 0,4 1 0 0 0,13 0 0 0 0,16 3 0 0 0,14 0 0 0 0,16 1 0 0 0,16 1 0 0 0,13 4 0 0 0,18-1 0 0 0,22 4 0 0 0,23 0 0 0 0,27-5 0 0 0,21-3 0 0 0,17-3 0 0 0,11-4 0 0 0,4-1 0 0 0,-1-1 0 0 0,-5-1 0 0 0,-7 0 0 0 0,-14-2 0 0 0,-16-2 0 0 0,-19-2 0 0 0,-18 1 0 0 0,-13 0 0 0 0,-16 1 0 0 0,-12 3 0 0 0,-13 2 0 0 0,-10 3 0 0 0,-7 1 0 0 0,-8 3 0 0 0,-5 2 0 0 0,-5 0 0 0 0,-2 2 0 0 0,-2 0 0 0 0,-4 1 0 0 0,-3 1 0 0 0,-3-3 0 0 0,-6 2 0 0 0,-2-1 0 0 0,0-1 0 0 0,-1 1 0 0 0,1-1 0 0 0,1 2 0 0 0,1 3 0 0 0,3 4 0 0 0,1 3 0 0 0,0 4 0 0 0,-3 3 0 0 0,-2 1 0 0 0,0 1 0 0 0,0 2 0 0 0,0 4 0 0 0,1 2 0 0 0,-3 3 0 0 0,0 1 0 0 0,0 2 0 0 0,1 2 0 0 0,1 2 0 0 0,1 5 0 0 0,0 1 0 0 0,0 1 0 0 0,1-1 0 0 0,0 0 0 0 0,-2-1 0 0 0,-5 0 0 0 0,0-2 0 0 0,-2-2 0 0 0,1-4 0 0 0,1-3 0 0 0,0-3 0 0 0,-3-5 0 0 0,2-2 0 0 0,-2-3 0 0 0,-1-3 0 0 0,-5 0 0 0 0,-1-1 0 0 0,-4 1 0 0 0,-2 0 0 0 0,2 1 0 0 0,1 0 0 0 0,1 1 0 0 0,1-1 0 0 0,-1 1 0 0 0,-1 0 0 0 0,0-3 0 0 0,-1-1 0 0 0,0-2 0 0 0,0-1 0 0 0,0-1 0 0 0,-1 0 0 0 0,1-1 0 0 0,-1-2 0 0 0,1-1 0 0 0,-2-3 0 0 0,0 1 0 0 0,-1-3 0 0 0,-2-7 0 0 0,-2-6 0 0 0,1-5 0 0 0,0-3 0 0 0,-2-3 0 0 0,-2 0 0 0 0,-3 0 0 0 0,-1 3 0 0 0,-2 0 0 0 0,-5-1 0 0 0,-5-2 0 0 0,-4-1 0 0 0,-7 1 0 0 0,-8-3 0 0 0,-5 0 0 0 0,-4 0 0 0 0,-6-2 0 0 0,0-2 0 0 0,0-2 0 0 0,-1-1 0 0 0,-4 1 0 0 0,-9-2 0 0 0,-9-1 0 0 0,-8-1 0 0 0,-8 1 0 0 0,-1 2 0 0 0,-3 1 0 0 0,0 3 0 0 0,1 6 0 0 0,0 5 0 0 0,2 5 0 0 0,3 3 0 0 0,6 0 0 0 0,5 1 0 0 0,7 1 0 0 0,5 0 0 0 0,5 1 0 0 0,5 3 0 0 0,5 2 0 0 0,3-1 0 0 0,2 3 0 0 0,2 0 0 0 0,3 1 0 0 0,2 0 0 0 0,6 1 0 0 0,4 0 0 0 0,1 1 0 0 0,1-2 0 0 0,-2 2 0 0 0,-2 1 0 0 0,-1 2 0 0 0,1-1 0 0 0,1 0 0 0 0,2-2 0 0 0,2 1 0 0 0,3-2 0 0 0,5 1 0 0 0,4-2 0 0 0,2 1 0 0 0,3 2 0 0 0,2-1 0 0 0,4 1 0 0 0,6 1 0 0 0,6 2 0 0 0,7-2 0 0 0,6 1 0 0 0,6-3 0 0 0,7-2 0 0 0,4-3 0 0 0,3 2 0 0 0,6-2 0 0 0,3 2 0 0 0,5 3 0 0 0,7 2 0 0 0,10 2 0 0 0,15 2 0 0 0,28 3 0 0 0,31 2 0 0 0,27 2 0 0 0,16-2 0 0 0,6-5 0 0 0,-8-4 0 0 0,-18-8 0 0 0,-16-6 0 0 0,-18-8 0 0 0,-18-11 0 0 0,-12-6 0 0 0,-12-5 0 0 0,-12-1 0 0 0,-6-1 0 0 0,-3 4 0 0 0,-4 3 0 0 0,-4 5 0 0 0,-5 3 0 0 0,-5 2 0 0 0,-1 4 0 0 0,-3 3 0 0 0,-3-1 0 0 0,2-3 0 0 0,-1-2 0 0 0,-1 0 0 0 0,-1 2 0 0 0,2 1 0 0 0,0 4 0 0 0,-1-1 0 0 0,2 0 0 0 0,3-1 0 0 0,5 2 0 0 0,0 2 0 0 0,-2 2 0 0 0,-3 3 0 0 0,-2 2 0 0 0,-6 0 0 0 0,-6 4 0 0 0,-3 1 0 0 0,-5 3 0 0 0,2 0 0 0 0,-1 1 0 0 0,2 2 0 0 0,2 0 0 0 0,4 1 0 0 0,2 0 0 0 0,1-1 0 0 0,1 4 0 0 0,1-2 0 0 0,0-2 0 0 0,0 0 0 0 0,0-2 0 0 0,0 0 0 0 0,0-1 0 0 0,0-1 0 0 0,0 0 0 0 0,-1-1 0 0 0,3-3 0 0 0,2 0 0 0 0,1 0 0 0 0,1 0 0 0 0,-1-1 0 0 0,1-1 0 0 0,0 1 0 0 0,-1-1 0 0 0,-2 0 0 0 0,-2-3 0 0 0,0-1 0 0 0,-1 4 0 0 0,-3 0 0 0 0,-1 2 0 0 0,-3-1 0 0 0,-3 1 0 0 0,1 1 0 0 0,-2 1 0 0 0,1 0 0 0 0,3-1 0 0 0,2-1 0 0 0,2-1 0 0 0,1 0 0 0 0,2-1 0 0 0,-1 0 0 0 0,1 0 0 0 0,0 0 0 0 0,-2-3 0 0 0,-2-1 0 0 0,0 1 0 0 0,1 0 0 0 0,-2-2 0 0 0,0 3 0 0 0,1 2 0 0 0,0 0 0 0 0,2-2 0 0 0,0-1 0 0 0,1 1 0 0 0,-2 0 0 0 0,-1 0 0 0 0,1 1 0 0 0,0-2 0 0 0,1-1 0 0 0,0 0 0 0 0,-2 2 0 0 0,0 0 0 0 0,-5 4 0 0 0,-4 1 0 0 0,-5 0 0 0 0</inkml:trace>
</inkml:ink>
</file>

<file path=ppt/ink/ink3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12-22T17:16:33.048"/>
    </inkml:context>
    <inkml:brush xml:id="br0">
      <inkml:brushProperty name="width" value="0.3" units="cm"/>
      <inkml:brushProperty name="height" value="0.6" units="cm"/>
      <inkml:brushProperty name="color" value="#00F900"/>
      <inkml:brushProperty name="tip" value="rectangle"/>
      <inkml:brushProperty name="rasterOp" value="maskPen"/>
    </inkml:brush>
  </inkml:definitions>
  <inkml:trace contextRef="#ctx0" brushRef="#br0">21011 10308 16383 0 0,'-11'-2'0'0'0,"-8"-5"0"0"0,-5 0 0 0 0,0-1 0 0 0,1-3 0 0 0,2 0 0 0 0,2 1 0 0 0,1 1 0 0 0,1-1 0 0 0,1-1 0 0 0,0 2 0 0 0,1 1 0 0 0,-1 1 0 0 0,1 0 0 0 0,-1 0 0 0 0,-2-3 0 0 0,-1 1 0 0 0,-3 2 0 0 0,-3 3 0 0 0,-2 1 0 0 0,-8 1 0 0 0,-6 2 0 0 0,-6 2 0 0 0,-4 2 0 0 0,-4 0 0 0 0,-2-1 0 0 0,-4-1 0 0 0,-1 0 0 0 0,-2 1 0 0 0,-2-2 0 0 0,-4 2 0 0 0,-4 0 0 0 0,-2-1 0 0 0,-2 0 0 0 0,-1-3 0 0 0,2-2 0 0 0,1-3 0 0 0,0 0 0 0 0,-1 0 0 0 0,-3 2 0 0 0,-4 2 0 0 0,-4 0 0 0 0,-1 1 0 0 0,2 1 0 0 0,5 0 0 0 0,5 0 0 0 0,6 1 0 0 0,0-4 0 0 0,3 0 0 0 0,1-3 0 0 0,2 2 0 0 0,1 0 0 0 0,4 2 0 0 0,3 3 0 0 0,6 0 0 0 0,7 0 0 0 0,8 0 0 0 0,5 3 0 0 0,7 3 0 0 0,16 3 0 0 0,12 0 0 0 0,11-2 0 0 0,8 1 0 0 0,6 1 0 0 0,5-1 0 0 0,3 1 0 0 0,4 1 0 0 0,1-2 0 0 0,6 2 0 0 0,7 0 0 0 0,11-1 0 0 0,13 1 0 0 0,14 0 0 0 0,16 2 0 0 0,19 3 0 0 0,17 0 0 0 0,11-1 0 0 0,0-2 0 0 0,-7-2 0 0 0,-11-2 0 0 0,-12-2 0 0 0,-12-6 0 0 0,-11-2 0 0 0,-13-5 0 0 0,-11 0 0 0 0,-11 0 0 0 0,-9 2 0 0 0,-11 1 0 0 0,-7 1 0 0 0,-4 1 0 0 0,-1 0 0 0 0,0 1 0 0 0,-5 1 0 0 0,-4-1 0 0 0,-4 0 0 0 0,-7 3 0 0 0,-2 1 0 0 0,-4 2 0 0 0,-12 3 0 0 0,-6 3 0 0 0,-3 1 0 0 0,-4 2 0 0 0,-1 1 0 0 0,-1-2 0 0 0,-2-2 0 0 0,-7 1 0 0 0,-4 1 0 0 0,-2 0 0 0 0,-4 1 0 0 0,-1-3 0 0 0,-3 0 0 0 0,-2-2 0 0 0,-2 0 0 0 0,-4 0 0 0 0,-5 2 0 0 0,-4 1 0 0 0,-6 2 0 0 0,-6 0 0 0 0,-4-2 0 0 0,-3-1 0 0 0,0-2 0 0 0,3-3 0 0 0,2-2 0 0 0,3-3 0 0 0,3-1 0 0 0,1-1 0 0 0,-2 0 0 0 0,-3 2 0 0 0,-3 1 0 0 0,-4 0 0 0 0,2 2 0 0 0,2 0 0 0 0,2 2 0 0 0,3 3 0 0 0,2 2 0 0 0,1-1 0 0 0,-2 0 0 0 0,-3 2 0 0 0,-1-3 0 0 0,2 1 0 0 0,0-2 0 0 0,2 0 0 0 0,4-1 0 0 0,4 0 0 0 0,4 0 0 0 0,1-3 0 0 0,-2-1 0 0 0,-2 1 0 0 0,1-1 0 0 0,1 0 0 0 0,3 1 0 0 0,4 0 0 0 0,2 0 0 0 0,4-2 0 0 0,4-1 0 0 0,3-1 0 0 0,1-1 0 0 0,5-3 0 0 0,4 0 0 0 0,4-4 0 0 0,2 1 0 0 0,3-2 0 0 0,0-3 0 0 0,1 2 0 0 0,-3 1 0 0 0,0 3 0 0 0,-4 1 0 0 0,-2 3 0 0 0,-6 3 0 0 0,-3 1 0 0 0,2-2 0 0 0,-3-4 0 0 0,0-1 0 0 0,-3-1 0 0 0,0 1 0 0 0,1 1 0 0 0,0-1 0 0 0,2-1 0 0 0,1 2 0 0 0,4 0 0 0 0,1 1 0 0 0,2 1 0 0 0,4 1 0 0 0,2-1 0 0 0,5-1 0 0 0,2-1 0 0 0,1-1 0 0 0,-1-1 0 0 0,0 0 0 0 0,2-3 0 0 0,0 1 0 0 0,-1 2 0 0 0,-1-2 0 0 0,-1 1 0 0 0,-3 1 0 0 0,-2 0 0 0 0,0-1 0 0 0,-3 2 0 0 0,-2 0 0 0 0,-3 0 0 0 0,-2-1 0 0 0,-1 2 0 0 0,-4 0 0 0 0,-5-2 0 0 0,0 1 0 0 0,-2-3 0 0 0,1 1 0 0 0,-1-5 0 0 0,1-2 0 0 0,2-3 0 0 0,2 0 0 0 0,2 2 0 0 0,1 3 0 0 0,1 1 0 0 0,4 3 0 0 0,0 2 0 0 0,0-1 0 0 0,0 0 0 0 0,-2 3 0 0 0,0 0 0 0 0,-1 1 0 0 0,0 1 0 0 0,2 1 0 0 0,1 3 0 0 0,0 1 0 0 0,-1 0 0 0 0,1 1 0 0 0,-1 1 0 0 0,0-4 0 0 0,1-2 0 0 0,-1 1 0 0 0,2 1 0 0 0,0 0 0 0 0,2 0 0 0 0,3-1 0 0 0,2 0 0 0 0,2-1 0 0 0,1 0 0 0 0,4 3 0 0 0,1 1 0 0 0,0 2 0 0 0,2 3 0 0 0,6 2 0 0 0,3 3 0 0 0,4 3 0 0 0,3 3 0 0 0,-1 2 0 0 0,2 3 0 0 0,-1 3 0 0 0,0 2 0 0 0,-2 1 0 0 0,1 4 0 0 0,0 0 0 0 0,-1 1 0 0 0,1-1 0 0 0,3 2 0 0 0,0-1 0 0 0,1 3 0 0 0,2-1 0 0 0,-1 2 0 0 0,1-1 0 0 0,0 3 0 0 0,2 1 0 0 0,1 1 0 0 0,-2 0 0 0 0,3 5 0 0 0,-2-2 0 0 0,0 0 0 0 0,1-3 0 0 0,-3-4 0 0 0,0-3 0 0 0,-2-2 0 0 0,0-2 0 0 0,4-4 0 0 0,3-4 0 0 0,-2-1 0 0 0,-1-2 0 0 0,1-2 0 0 0,0-2 0 0 0,-2-1 0 0 0,0 2 0 0 0,0 0 0 0 0,1 0 0 0 0,1-1 0 0 0,1 0 0 0 0,-3-7 0 0 0,-5-10 0 0 0,-5-8 0 0 0,-7-11 0 0 0,-3-7 0 0 0,-6-8 0 0 0,0-2 0 0 0,2-1 0 0 0,1-4 0 0 0,-1 0 0 0 0,-1-2 0 0 0,-1-1 0 0 0,-1-1 0 0 0,-3-2 0 0 0,2-1 0 0 0,0 0 0 0 0,1-1 0 0 0,-1-2 0 0 0,1-2 0 0 0,0 4 0 0 0,2 1 0 0 0,1 4 0 0 0,0 1 0 0 0,-1-1 0 0 0,2 5 0 0 0,0 0 0 0 0,-1 2 0 0 0,2 1 0 0 0,-1-1 0 0 0,3-1 0 0 0,1-1 0 0 0,1-2 0 0 0,-3-6 0 0 0,1 0 0 0 0,2 0 0 0 0,1 0 0 0 0,3-1 0 0 0,0 0 0 0 0,2 2 0 0 0,0 1 0 0 0,0 3 0 0 0,0 2 0 0 0,3 6 0 0 0,1 3 0 0 0,3 6 0 0 0,2 5 0 0 0,2 3 0 0 0,3 4 0 0 0,1 4 0 0 0,1 4 0 0 0,0 2 0 0 0,0 4 0 0 0,-2 8 0 0 0,-4 4 0 0 0,-6 5 0 0 0,-4 5 0 0 0,-5 6 0 0 0,-1 4 0 0 0,-2 1 0 0 0,2 3 0 0 0,6 3 0 0 0,2 2 0 0 0,1 6 0 0 0,0 6 0 0 0,-1 9 0 0 0,0 6 0 0 0,-1 2 0 0 0,0-1 0 0 0,-1-1 0 0 0,0-5 0 0 0,0-5 0 0 0,3-5 0 0 0,0-6 0 0 0,1-6 0 0 0,-2-8 0 0 0,3-7 0 0 0,0-6 0 0 0,-1-4 0 0 0,-1-2 0 0 0,-4-12 0 0 0,-2-12 0 0 0,1-10 0 0 0,-1-7 0 0 0,1-5 0 0 0,0-3 0 0 0,2-1 0 0 0,-1 3 0 0 0,1 1 0 0 0,-3 6 0 0 0,-3 12 0 0 0,-3 11 0 0 0,-1 8 0 0 0,-1 8 0 0 0,-1 8 0 0 0,1 4 0 0 0,1 1 0 0 0,0-2 0 0 0,4-2 0 0 0,1-14 0 0 0,3-14 0 0 0,3-11 0 0 0,0-6 0 0 0,-1-5 0 0 0,0-1 0 0 0,-3-1 0 0 0,-1 2 0 0 0,-2 0 0 0 0,-3-2 0 0 0,0 2 0 0 0,-4 0 0 0 0,0 2 0 0 0,0 1 0 0 0,-3 1 0 0 0,-2 0 0 0 0,0 2 0 0 0,0 1 0 0 0,0 2 0 0 0,1-3 0 0 0,0 4 0 0 0,1 0 0 0 0,3 7 0 0 0,3 6 0 0 0,4 8 0 0 0,3 5 0 0 0,4 6 0 0 0,6 6 0 0 0,3 7 0 0 0,3 4 0 0 0,5 5 0 0 0,1 0 0 0 0,4 3 0 0 0,3 0 0 0 0,5 0 0 0 0,0 4 0 0 0,-3 6 0 0 0,0 4 0 0 0,0 4 0 0 0,-2 5 0 0 0,0 3 0 0 0,-2 0 0 0 0,-2 0 0 0 0,-5-1 0 0 0,-3-3 0 0 0,0-5 0 0 0,-1-4 0 0 0,-2-6 0 0 0,-1-5 0 0 0,-1-8 0 0 0,2-7 0 0 0,1-8 0 0 0</inkml:trace>
</inkml:ink>
</file>

<file path=ppt/ink/ink3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12-22T17:16:33.049"/>
    </inkml:context>
    <inkml:brush xml:id="br0">
      <inkml:brushProperty name="width" value="0.3" units="cm"/>
      <inkml:brushProperty name="height" value="0.6" units="cm"/>
      <inkml:brushProperty name="color" value="#00F900"/>
      <inkml:brushProperty name="tip" value="rectangle"/>
      <inkml:brushProperty name="rasterOp" value="maskPen"/>
    </inkml:brush>
  </inkml:definitions>
  <inkml:trace contextRef="#ctx0" brushRef="#br0">15432 11113 16383 0 0,'-8'18'0'0'0,"-3"13"0"0"0,1 5 0 0 0,-1 3 0 0 0,-1-1 0 0 0,1-1 0 0 0,3-1 0 0 0,3 1 0 0 0,-1-3 0 0 0,1-2 0 0 0,1-1 0 0 0,4-1 0 0 0,2 1 0 0 0,1 0 0 0 0,-1 2 0 0 0,1 5 0 0 0,-2 3 0 0 0,3 5 0 0 0,2 4 0 0 0,1 3 0 0 0,2 4 0 0 0,2 0 0 0 0,-1-1 0 0 0,3-6 0 0 0,3-2 0 0 0,3-5 0 0 0,4-1 0 0 0,1-2 0 0 0,2-3 0 0 0,1 0 0 0 0,2 0 0 0 0,-1-4 0 0 0,-3-3 0 0 0,-3 0 0 0 0,-6-3 0 0 0,-4-4 0 0 0,-3-5 0 0 0,-5-17 0 0 0,-3-16 0 0 0,-2-14 0 0 0,-3-13 0 0 0,-5-9 0 0 0,-2-8 0 0 0,-2-4 0 0 0,-2-2 0 0 0,-1-3 0 0 0,-6-2 0 0 0,-2-1 0 0 0,-2-3 0 0 0,1-2 0 0 0,1-1 0 0 0,3 1 0 0 0,5 4 0 0 0,5 7 0 0 0,4 8 0 0 0,3 11 0 0 0,6 12 0 0 0,4 16 0 0 0,5 15 0 0 0,2 15 0 0 0,3 9 0 0 0,3 13 0 0 0,4 9 0 0 0,3 9 0 0 0,3 11 0 0 0,2 12 0 0 0,3 10 0 0 0,2 15 0 0 0,0 20 0 0 0,4 29 0 0 0,2 31 0 0 0,-2 26 0 0 0,-2 15 0 0 0,-5 3 0 0 0,-5-9 0 0 0,-5-19 0 0 0,-4-25 0 0 0,-2-30 0 0 0,-1-29 0 0 0,-4-25 0 0 0,-3-25 0 0 0,-2-22 0 0 0,0-30 0 0 0,-3-24 0 0 0,-4-18 0 0 0,-2-16 0 0 0,-7-20 0 0 0,-6-19 0 0 0,-6-27 0 0 0,-9-30 0 0 0,-5-27 0 0 0,-10-25 0 0 0,-6-20 0 0 0,-3-13 0 0 0,2-8 0 0 0,5 2 0 0 0,7 13 0 0 0,11 23 0 0 0,13 30 0 0 0,9 35 0 0 0,8 35 0 0 0,8 35 0 0 0,3 32 0 0 0,4 32 0 0 0,1 25 0 0 0,3 22 0 0 0,4 16 0 0 0,3 20 0 0 0,5 32 0 0 0,5 46 0 0 0,7 52 0 0 0,4 45 0 0 0,2 39 0 0 0,1 22 0 0 0,-6 5 0 0 0,-11-12 0 0 0,-13-29 0 0 0,-14-45 0 0 0,-12-48 0 0 0,-12-52 0 0 0,-8-47 0 0 0,-4-41 0 0 0,-2-32 0 0 0,4-27 0 0 0,5-17 0 0 0,4-13 0 0 0,2-10 0 0 0,-1-5 0 0 0,0-6 0 0 0,-4-7 0 0 0,-2-14 0 0 0,-1-21 0 0 0,4-27 0 0 0,5-26 0 0 0,6-24 0 0 0,6-17 0 0 0,5-5 0 0 0,3 6 0 0 0,2 11 0 0 0,0 24 0 0 0,-5 25 0 0 0,-2 34 0 0 0,-4 33 0 0 0,-1 36 0 0 0,-3 35 0 0 0,-2 30 0 0 0,-3 29 0 0 0,-1 29 0 0 0,-4 44 0 0 0,-4 41 0 0 0,-1 31 0 0 0,3 23 0 0 0,5 10 0 0 0,5 0 0 0 0,5-10 0 0 0,2-13 0 0 0,6-20 0 0 0,3-25 0 0 0,5-28 0 0 0,2-33 0 0 0,0-33 0 0 0,0-37 0 0 0,0-40 0 0 0,1-41 0 0 0,3-46 0 0 0,-1-46 0 0 0,2-47 0 0 0,-2-37 0 0 0,-1-26 0 0 0,-6-15 0 0 0,-4-1 0 0 0,-8 12 0 0 0,-7 25 0 0 0,-4 34 0 0 0,-3 39 0 0 0,-3 41 0 0 0,-1 40 0 0 0,-3 35 0 0 0,-2 33 0 0 0,-2 28 0 0 0,-2 23 0 0 0,-1 19 0 0 0,1 17 0 0 0,2 16 0 0 0,2 13 0 0 0,6 8 0 0 0,3 4 0 0 0,5 1 0 0 0,4-2 0 0 0,4-1 0 0 0,2 1 0 0 0,2 4 0 0 0,-2 0 0 0 0,-4-3 0 0 0,-2-7 0 0 0,-4-12 0 0 0,-2-15 0 0 0,-1-22 0 0 0,-1-24 0 0 0,5-30 0 0 0,4-32 0 0 0,7-38 0 0 0,2-40 0 0 0,4-39 0 0 0,1-35 0 0 0,3-33 0 0 0,3-20 0 0 0,4-8 0 0 0,3 5 0 0 0,5 18 0 0 0,-1 29 0 0 0,-3 31 0 0 0,-3 36 0 0 0,-7 36 0 0 0,-8 41 0 0 0,-8 36 0 0 0,-5 30 0 0 0,-4 28 0 0 0,-1 25 0 0 0,-3 21 0 0 0,4 17 0 0 0,5 7 0 0 0,6 8 0 0 0,2 10 0 0 0,2 11 0 0 0,0 12 0 0 0,1 10 0 0 0,-4 4 0 0 0,0-4 0 0 0,-4-16 0 0 0,0-23 0 0 0,-1-29 0 0 0,-1-30 0 0 0,2-39 0 0 0,2-41 0 0 0,4-40 0 0 0,5-40 0 0 0,1-35 0 0 0,0-38 0 0 0,-4-35 0 0 0,-4-23 0 0 0,-6-12 0 0 0,-3 0 0 0 0,0 17 0 0 0,-1 22 0 0 0,1 31 0 0 0,4 35 0 0 0,-1 36 0 0 0,-1 32 0 0 0,0 38 0 0 0,0 33 0 0 0,1 27 0 0 0,2 21 0 0 0,-1 18 0 0 0,4 11 0 0 0,2 9 0 0 0,4 9 0 0 0,4 6 0 0 0,1-1 0 0 0,-1-3 0 0 0,-1-9 0 0 0,-5-11 0 0 0,-5-11 0 0 0,-2-12 0 0 0,-5-12 0 0 0,-1-11 0 0 0,-1-9 0 0 0,-1-11 0 0 0,2-9 0 0 0,0-7 0 0 0,2-5 0 0 0,1-3 0 0 0,1 0 0 0 0,-1 1 0 0 0,-1 4 0 0 0,1 1 0 0 0,-1 3 0 0 0,2 2 0 0 0,2 0 0 0 0,2-3 0 0 0,1-1 0 0 0,2-3 0 0 0,3-1 0 0 0,2-2 0 0 0,-3 0 0 0 0,-1 0 0 0 0,1-4 0 0 0,2-3 0 0 0</inkml:trace>
</inkml:ink>
</file>

<file path=ppt/ink/ink3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12-22T17:16:33.050"/>
    </inkml:context>
    <inkml:brush xml:id="br0">
      <inkml:brushProperty name="width" value="0.3" units="cm"/>
      <inkml:brushProperty name="height" value="0.6" units="cm"/>
      <inkml:brushProperty name="color" value="#00F900"/>
      <inkml:brushProperty name="tip" value="rectangle"/>
      <inkml:brushProperty name="rasterOp" value="maskPen"/>
    </inkml:brush>
  </inkml:definitions>
  <inkml:trace contextRef="#ctx0" brushRef="#br0">15200 14654 16383 0 0,'0'-3'0'0'0,"11"2"0"0"0,6 4 0 0 0,6 1 0 0 0,6 0 0 0 0,5 0 0 0 0,3-2 0 0 0,5-3 0 0 0,5-2 0 0 0,8 0 0 0 0,9 1 0 0 0,11 2 0 0 0,15 3 0 0 0,14-1 0 0 0,8 0 0 0 0,8 3 0 0 0,9 0 0 0 0,9-1 0 0 0,8-1 0 0 0,1-1 0 0 0,2-1 0 0 0,0 3 0 0 0,-2-1 0 0 0,-1 1 0 0 0,-4-2 0 0 0,-4 3 0 0 0,-2-1 0 0 0,0 0 0 0 0,1 2 0 0 0,-4-1 0 0 0,-3-3 0 0 0,1 0 0 0 0,2 3 0 0 0,2 3 0 0 0,3 3 0 0 0,0 2 0 0 0,-3 2 0 0 0,0 4 0 0 0,1 0 0 0 0,2 1 0 0 0,-1-1 0 0 0,-3 0 0 0 0,1-2 0 0 0,1-3 0 0 0,2-4 0 0 0,-4-4 0 0 0,-1 0 0 0 0,-1-1 0 0 0,1 1 0 0 0,2 2 0 0 0,0 0 0 0 0,1 2 0 0 0,3-2 0 0 0,7 1 0 0 0,1-1 0 0 0,3-2 0 0 0,3 1 0 0 0,2-1 0 0 0,2-4 0 0 0,-2-3 0 0 0,-3-3 0 0 0,0-2 0 0 0,0-2 0 0 0,-1-2 0 0 0,-5-2 0 0 0,-5-3 0 0 0,-4 3 0 0 0,1 0 0 0 0,-3 1 0 0 0,-5 1 0 0 0,-6 2 0 0 0,-8 2 0 0 0,-8 0 0 0 0,-5 0 0 0 0,-8 2 0 0 0,-6 1 0 0 0,-8 1 0 0 0,-6 2 0 0 0,-6 2 0 0 0,-3 2 0 0 0,-3-1 0 0 0,2 0 0 0 0,3 0 0 0 0,3 1 0 0 0,4 0 0 0 0,-1-3 0 0 0,-2-2 0 0 0,-3 2 0 0 0,-4 1 0 0 0,-6 3 0 0 0,-2 0 0 0 0,-3 0 0 0 0,-2-2 0 0 0,-2 0 0 0 0,-2 1 0 0 0,3 0 0 0 0,-4 0 0 0 0,0-2 0 0 0,-3 0 0 0 0,-4 2 0 0 0,-1-3 0 0 0,-1-1 0 0 0,-2-1 0 0 0,1 0 0 0 0,-1 0 0 0 0,2 1 0 0 0,3-3 0 0 0,2-4 0 0 0,2 0 0 0 0,4 1 0 0 0,4 1 0 0 0,2 2 0 0 0,1 1 0 0 0,1-2 0 0 0,-6 1 0 0 0,-2-1 0 0 0,-5 2 0 0 0,-4 0 0 0 0,-6 1 0 0 0,-4 1 0 0 0,-1 0 0 0 0,-1 0 0 0 0,1-3 0 0 0,1 0 0 0 0,0 0 0 0 0,1 0 0 0 0,0-2 0 0 0,0 1 0 0 0,1 0 0 0 0,0 1 0 0 0,-1 3 0 0 0,1 3 0 0 0,0 0 0 0 0,-3-3 0 0 0,-1-2 0 0 0,-3 0 0 0 0,-2 3 0 0 0,-3 1 0 0 0,-2 0 0 0 0,-7 0 0 0 0,-5 3 0 0 0,-4-3 0 0 0,-2-5 0 0 0,-3 0 0 0 0,-5-2 0 0 0,-3 2 0 0 0,-3 0 0 0 0,-1 2 0 0 0,-4 0 0 0 0,-3-3 0 0 0,-5 1 0 0 0,-2-1 0 0 0,-4 2 0 0 0,-5-3 0 0 0,-6-5 0 0 0,-8-1 0 0 0,-4-1 0 0 0,-7-4 0 0 0,-8-5 0 0 0,-12-4 0 0 0,-12-3 0 0 0,-20-3 0 0 0,-28-3 0 0 0,-25-2 0 0 0,-21 0 0 0 0,-16 1 0 0 0,-9 6 0 0 0,-7 8 0 0 0,-7 11 0 0 0,-5 6 0 0 0,-3 7 0 0 0,-2 9 0 0 0,5 1 0 0 0,7 0 0 0 0,7-1 0 0 0,3-5 0 0 0,1-3 0 0 0,-1-8 0 0 0,-6-6 0 0 0,-6-6 0 0 0,-8-4 0 0 0,0-1 0 0 0,2-2 0 0 0,5 3 0 0 0,5 2 0 0 0,8 1 0 0 0,8-1 0 0 0,5-1 0 0 0,2 0 0 0 0,3 1 0 0 0,0 4 0 0 0,2 1 0 0 0,4 2 0 0 0,6 2 0 0 0,4-2 0 0 0,1 0 0 0 0,3-2 0 0 0,-2 1 0 0 0,1 1 0 0 0,0-4 0 0 0,5-2 0 0 0,8-1 0 0 0,4 1 0 0 0,7-3 0 0 0,4 2 0 0 0,8 4 0 0 0,3 5 0 0 0,4 3 0 0 0,1 6 0 0 0,2 3 0 0 0,5 6 0 0 0,8 5 0 0 0,2 1 0 0 0,4 5 0 0 0,1 4 0 0 0,5 3 0 0 0,4 0 0 0 0,6-2 0 0 0,9 0 0 0 0,12-2 0 0 0,11-1 0 0 0,11-3 0 0 0,10-1 0 0 0,9-4 0 0 0,6-2 0 0 0,6-2 0 0 0,3-1 0 0 0,6-4 0 0 0,5-1 0 0 0,7 0 0 0 0,7 1 0 0 0,8 0 0 0 0,5 2 0 0 0,4-1 0 0 0,5 2 0 0 0,6 2 0 0 0,7 0 0 0 0,9 0 0 0 0,9-1 0 0 0,9 0 0 0 0,9-1 0 0 0,5-2 0 0 0,10 0 0 0 0,15 0 0 0 0,13-1 0 0 0,16-2 0 0 0,18-4 0 0 0,20-2 0 0 0,16 0 0 0 0,11-3 0 0 0,7-2 0 0 0,5-3 0 0 0,-3-5 0 0 0,-5-5 0 0 0,-7-7 0 0 0,-10-5 0 0 0,-13-3 0 0 0,-12-3 0 0 0,-11 1 0 0 0,-10 2 0 0 0,-2 1 0 0 0,-2 4 0 0 0,-4 4 0 0 0,-5 8 0 0 0,-3 3 0 0 0,0 5 0 0 0,-1 4 0 0 0,1 7 0 0 0,3 10 0 0 0,5 9 0 0 0,6 8 0 0 0,9 6 0 0 0,10 6 0 0 0,15 4 0 0 0,16 3 0 0 0,14-3 0 0 0,15-4 0 0 0,12-6 0 0 0,4-6 0 0 0,-1-5 0 0 0,-3-6 0 0 0,-13-8 0 0 0,-12-9 0 0 0,-15-3 0 0 0,-12-5 0 0 0,-15-3 0 0 0,-13-2 0 0 0,-11 2 0 0 0,-10 2 0 0 0,-5 5 0 0 0,-2 7 0 0 0,-3 6 0 0 0,-3 4 0 0 0,-2 2 0 0 0,-1 2 0 0 0,-1-2 0 0 0,2 0 0 0 0,0-3 0 0 0,1-4 0 0 0,-1-2 0 0 0,-1 0 0 0 0,2 0 0 0 0,-2-4 0 0 0,-4-3 0 0 0,-4 0 0 0 0,-7-2 0 0 0,-3-2 0 0 0,-2-1 0 0 0,-3 0 0 0 0,-3-2 0 0 0,0-1 0 0 0,1-3 0 0 0,-1 0 0 0 0,-1-2 0 0 0,-4-1 0 0 0,-6 0 0 0 0,-2 0 0 0 0,-2 2 0 0 0,-3 2 0 0 0,-5-4 0 0 0,-5 2 0 0 0,-4 3 0 0 0,-4 1 0 0 0,-4 2 0 0 0,-3-1 0 0 0,-2 2 0 0 0,-4 2 0 0 0,-2-1 0 0 0,-2-3 0 0 0,-1 2 0 0 0,-3 0 0 0 0,-2 3 0 0 0,1 1 0 0 0,-3 1 0 0 0,-2 2 0 0 0,-5 3 0 0 0,-3 0 0 0 0,-4 4 0 0 0,-2 2 0 0 0,2 3 0 0 0,0-1 0 0 0,2-2 0 0 0,0-3 0 0 0,2-2 0 0 0,1 1 0 0 0,0-1 0 0 0,0 0 0 0 0,0-2 0 0 0,0-1 0 0 0,-3 3 0 0 0,-1 0 0 0 0,1-1 0 0 0,-3-3 0 0 0,-5-2 0 0 0,-4 2 0 0 0,-4 2 0 0 0,-5-1 0 0 0,-6 1 0 0 0,-6-1 0 0 0,-5 0 0 0 0,-7 2 0 0 0,-10 1 0 0 0,-13-1 0 0 0,-15 0 0 0 0,-9-1 0 0 0,-7-1 0 0 0,-3-3 0 0 0,-2-4 0 0 0,-2-4 0 0 0,-4-2 0 0 0,-3-3 0 0 0,-5-1 0 0 0,-3-3 0 0 0,-4-1 0 0 0,-2-2 0 0 0,-4-1 0 0 0,-2-1 0 0 0,0-3 0 0 0,1 2 0 0 0,0 1 0 0 0,-4 3 0 0 0,-6-1 0 0 0,-4 1 0 0 0,-5 1 0 0 0,-2 2 0 0 0,-2 3 0 0 0,-3 2 0 0 0,-2 1 0 0 0,0-1 0 0 0,2 2 0 0 0,0 0 0 0 0,-2 5 0 0 0,6 3 0 0 0,8 0 0 0 0,7 0 0 0 0,10 0 0 0 0,7-1 0 0 0,8-1 0 0 0,3 2 0 0 0,9 0 0 0 0,5 1 0 0 0,7-2 0 0 0,5-3 0 0 0,8 0 0 0 0,3-2 0 0 0,4 1 0 0 0,1-1 0 0 0,2-1 0 0 0,-1 0 0 0 0,2 2 0 0 0,1 6 0 0 0,4 0 0 0 0,5 0 0 0 0,7 1 0 0 0,15 0 0 0 0,17 1 0 0 0,16-1 0 0 0,18-1 0 0 0,14-2 0 0 0,13 1 0 0 0,13 3 0 0 0,13 2 0 0 0,12 0 0 0 0,8 5 0 0 0,8 5 0 0 0,7 2 0 0 0,10 2 0 0 0,10 1 0 0 0,11-3 0 0 0,13-3 0 0 0,8-4 0 0 0,2-3 0 0 0,-1-2 0 0 0,-6-5 0 0 0,-9-3 0 0 0,-10-5 0 0 0,-8-2 0 0 0,-12-2 0 0 0,-10-1 0 0 0,-10 0 0 0 0,-12-1 0 0 0,-8 3 0 0 0,-5 1 0 0 0,-6 3 0 0 0,-8 3 0 0 0,-7 0 0 0 0,-3 4 0 0 0,-6 2 0 0 0,-3 2 0 0 0,-5 0 0 0 0,-4 1 0 0 0,-3-1 0 0 0,-3-3 0 0 0,-1-1 0 0 0,7 0 0 0 0,5-2 0 0 0,6-1 0 0 0,2 2 0 0 0,3 0 0 0 0,1-1 0 0 0,1-2 0 0 0,-1-4 0 0 0,-2-1 0 0 0,-2-2 0 0 0,-2-2 0 0 0,-1-2 0 0 0,-4-2 0 0 0,-1 0 0 0 0,0 1 0 0 0,-3-2 0 0 0,3 3 0 0 0,2-1 0 0 0,2 0 0 0 0,-1 0 0 0 0,1 4 0 0 0,0 2 0 0 0,-2 3 0 0 0,-5 0 0 0 0,-3 2 0 0 0,-8 5 0 0 0,-12 4 0 0 0,-12 0 0 0 0,-9 4 0 0 0,-10 3 0 0 0,-8 1 0 0 0,-6 1 0 0 0,-9-1 0 0 0,-9-3 0 0 0,-13-1 0 0 0,-13-2 0 0 0,-10 1 0 0 0,-10 0 0 0 0,-6-3 0 0 0,-6 0 0 0 0,-6 1 0 0 0,-9-1 0 0 0,-11 3 0 0 0,-10 1 0 0 0,-12 1 0 0 0,-12 3 0 0 0,-11 6 0 0 0,-5 2 0 0 0,-1 1 0 0 0,-3-2 0 0 0,-3 1 0 0 0,-1 1 0 0 0,-4 0 0 0 0,-7 2 0 0 0,-8 0 0 0 0,-9 0 0 0 0,-5 1 0 0 0,-4 4 0 0 0,0-1 0 0 0,0-2 0 0 0,2-1 0 0 0,6-2 0 0 0,3-5 0 0 0,3-1 0 0 0,6-3 0 0 0,5-6 0 0 0,6-4 0 0 0,7-1 0 0 0,9-4 0 0 0,6-4 0 0 0,7 0 0 0 0,3-1 0 0 0,6-1 0 0 0,7-3 0 0 0,7 3 0 0 0,4-1 0 0 0,4 2 0 0 0,5 0 0 0 0,3 0 0 0 0,7 0 0 0 0,2 0 0 0 0,-1-1 0 0 0,0 1 0 0 0,2 0 0 0 0,2 2 0 0 0,1-1 0 0 0,0 1 0 0 0,-1 2 0 0 0,-4 2 0 0 0,-3 5 0 0 0,0 1 0 0 0,1 1 0 0 0,0 0 0 0 0,2 2 0 0 0,1 3 0 0 0,1 0 0 0 0,5 2 0 0 0,11-2 0 0 0,7-1 0 0 0,10-6 0 0 0,10-1 0 0 0,10-5 0 0 0,12-1 0 0 0,12-2 0 0 0,16 0 0 0 0,13 1 0 0 0,17 3 0 0 0,15 1 0 0 0,12 1 0 0 0,10 2 0 0 0,14 0 0 0 0,13 3 0 0 0,19 1 0 0 0,28-1 0 0 0,37 3 0 0 0,43 0 0 0 0,42-1 0 0 0,36-5 0 0 0,27-1 0 0 0,13-4 0 0 0,-2-3 0 0 0,-11-4 0 0 0,-20-2 0 0 0,-28-1 0 0 0,-32 2 0 0 0,-31 0 0 0 0,-31 2 0 0 0,-26 7 0 0 0,-26 8 0 0 0,-23 7 0 0 0,-21 6 0 0 0,-20 7 0 0 0,-14 3 0 0 0,-13 4 0 0 0,-7-2 0 0 0,-5-3 0 0 0,-2-2 0 0 0,5-1 0 0 0,2-2 0 0 0,5 0 0 0 0,5-6 0 0 0,4-1 0 0 0,3-1 0 0 0,-1-3 0 0 0,1-2 0 0 0,0-4 0 0 0,0-1 0 0 0,-1-2 0 0 0,-3-4 0 0 0,-3-1 0 0 0,-3 0 0 0 0,-4-2 0 0 0,-3-3 0 0 0,-2-2 0 0 0,-7-2 0 0 0,-6 1 0 0 0,-10 0 0 0 0,-14 2 0 0 0,-13-3 0 0 0,-14-1 0 0 0,-10-5 0 0 0,-11-3 0 0 0,-11-4 0 0 0,-10-6 0 0 0,-13-5 0 0 0,-15-2 0 0 0,-18-5 0 0 0,-15-2 0 0 0,-7 0 0 0 0,0 0 0 0 0,-10 0 0 0 0,0 3 0 0 0,12 5 0 0 0,11 10 0 0 0,10 6 0 0 0,8 11 0 0 0,4 6 0 0 0,6 4 0 0 0,3 3 0 0 0,2 3 0 0 0,0 1 0 0 0,-2 2 0 0 0,2 3 0 0 0,1-2 0 0 0,7 2 0 0 0,7 1 0 0 0,7-2 0 0 0,6 1 0 0 0,3 1 0 0 0,-3-2 0 0 0,-2 0 0 0 0,-2 1 0 0 0,-1-1 0 0 0,3 1 0 0 0,3 0 0 0 0,3 2 0 0 0,3-2 0 0 0,0 0 0 0 0,-3 1 0 0 0,-2-2 0 0 0,-3-2 0 0 0,-2-3 0 0 0,2 1 0 0 0,0 2 0 0 0,2-1 0 0 0,0-1 0 0 0,4-2 0 0 0,4-1 0 0 0,4-5 0 0 0,5-3 0 0 0,6-2 0 0 0,7-2 0 0 0,8-3 0 0 0,7-1 0 0 0,6-1 0 0 0,6-2 0 0 0,9-2 0 0 0,8-2 0 0 0,10-2 0 0 0,11-4 0 0 0,9 1 0 0 0,8-1 0 0 0,9 1 0 0 0,5 3 0 0 0,4 1 0 0 0,1 3 0 0 0,3 1 0 0 0,-2 6 0 0 0,0 5 0 0 0,4 1 0 0 0,5 1 0 0 0,9 2 0 0 0,18 3 0 0 0,21-1 0 0 0,19 3 0 0 0,17 0 0 0 0,17 5 0 0 0,15 1 0 0 0,12 2 0 0 0,9 2 0 0 0,8-1 0 0 0,5-4 0 0 0,3-2 0 0 0,2-5 0 0 0,-2-3 0 0 0,-9-1 0 0 0,-11-2 0 0 0,-16-1 0 0 0,-12-2 0 0 0,-8 1 0 0 0,-9 1 0 0 0,-12-1 0 0 0,-8-2 0 0 0,-6 3 0 0 0,-4 3 0 0 0,-2-1 0 0 0,-3 0 0 0 0,-6 1 0 0 0,-6-2 0 0 0,-8-2 0 0 0,-11-1 0 0 0,-7-1 0 0 0,-2 4 0 0 0,0-1 0 0 0,-2 1 0 0 0,0 5 0 0 0,-5 1 0 0 0,-8 1 0 0 0,-6 1 0 0 0,-9-1 0 0 0,-12-1 0 0 0,-13 0 0 0 0,-9 2 0 0 0,-6 1 0 0 0,-6-1 0 0 0,-3 0 0 0 0,-5-1 0 0 0,-4-1 0 0 0,-4-1 0 0 0,-3 1 0 0 0,-7-1 0 0 0,-10-3 0 0 0,-11-1 0 0 0,-12 0 0 0 0,-12 2 0 0 0,-9-6 0 0 0,-8-3 0 0 0,-5-3 0 0 0,-7-4 0 0 0,-9-4 0 0 0,-5-5 0 0 0,-5-4 0 0 0,-9-7 0 0 0,-9-3 0 0 0,-9-1 0 0 0,-5 1 0 0 0,-4 3 0 0 0,-1 2 0 0 0,-2 4 0 0 0,-1 3 0 0 0,-2 3 0 0 0,-3 7 0 0 0,0 5 0 0 0,4 7 0 0 0,10 3 0 0 0,10 5 0 0 0,14 3 0 0 0,13 4 0 0 0,5 2 0 0 0,7 0 0 0 0,7 1 0 0 0,4 1 0 0 0,7 1 0 0 0,8-1 0 0 0,8 0 0 0 0,9-3 0 0 0,9-2 0 0 0,5-2 0 0 0,11-3 0 0 0,7-1 0 0 0,6-1 0 0 0,10 3 0 0 0,5 0 0 0 0,8 0 0 0 0,5-4 0 0 0,9-3 0 0 0,6-2 0 0 0,6 0 0 0 0,8 2 0 0 0,8 0 0 0 0,9 2 0 0 0,8 1 0 0 0,5 1 0 0 0,10 0 0 0 0,8 0 0 0 0,6-2 0 0 0,6-2 0 0 0,5 1 0 0 0,8 1 0 0 0,9 0 0 0 0,10 1 0 0 0,9-3 0 0 0,5 1 0 0 0,4-1 0 0 0,2 1 0 0 0,3 2 0 0 0,-1 0 0 0 0,-4 0 0 0 0,-2 1 0 0 0,-4-3 0 0 0,-1-3 0 0 0,-5-1 0 0 0,-1-1 0 0 0,-3-1 0 0 0,-6 3 0 0 0,-4 1 0 0 0,-1 0 0 0 0,-1 0 0 0 0,-2-2 0 0 0,-3 1 0 0 0,-6-2 0 0 0,-3-2 0 0 0,1 1 0 0 0,3-1 0 0 0,1 1 0 0 0,0 3 0 0 0,-3 1 0 0 0,-5 0 0 0 0,-4 0 0 0 0,-7 2 0 0 0,-3 3 0 0 0,2 2 0 0 0,0 0 0 0 0,0 1 0 0 0,1-1 0 0 0,0-1 0 0 0,-4 0 0 0 0,0 0 0 0 0,3-1 0 0 0,3 0 0 0 0,5-3 0 0 0,0-1 0 0 0,0 3 0 0 0,-3 2 0 0 0,-1-2 0 0 0,-4-4 0 0 0,-3 2 0 0 0,0 1 0 0 0,3 2 0 0 0,1 0 0 0 0,1 0 0 0 0,-1 0 0 0 0,-2-2 0 0 0,-1 1 0 0 0,-4-1 0 0 0,3-1 0 0 0,4-2 0 0 0,5 2 0 0 0,3 2 0 0 0,2-2 0 0 0,-3 0 0 0 0,-2 0 0 0 0,-1-2 0 0 0,-3 0 0 0 0,2-2 0 0 0,-1 1 0 0 0,1 0 0 0 0,-2 2 0 0 0,-1 2 0 0 0,-3 0 0 0 0,-3 2 0 0 0,-5 0 0 0 0,-3 0 0 0 0,-1 0 0 0 0,-2 1 0 0 0,0-1 0 0 0,-1-3 0 0 0,1 3 0 0 0,-1-3 0 0 0,1 0 0 0 0,0-2 0 0 0,-3-1 0 0 0,0 2 0 0 0,-1 0 0 0 0,2-1 0 0 0,0 0 0 0 0,1 1 0 0 0,3-2 0 0 0,2 1 0 0 0,-3 1 0 0 0,-4-2 0 0 0,-2-2 0 0 0,-5 0 0 0 0,-4 1 0 0 0,-4 2 0 0 0,-5 2 0 0 0,-6 2 0 0 0,-7 0 0 0 0,-5 1 0 0 0,-1 0 0 0 0,-1 0 0 0 0,-1 1 0 0 0,-2-4 0 0 0,0 0 0 0 0,-4 2 0 0 0,-1 2 0 0 0,-5 1 0 0 0,-7-1 0 0 0,-6 1 0 0 0,-4-1 0 0 0,-4-1 0 0 0,-2 3 0 0 0,0 1 0 0 0,-1-1 0 0 0,0 3 0 0 0,-3-1 0 0 0,-3 3 0 0 0,-2-2 0 0 0,-7 0 0 0 0,-4 1 0 0 0,-8-1 0 0 0,-4 1 0 0 0,-7 0 0 0 0,-8-2 0 0 0,-7-1 0 0 0,-10-2 0 0 0,-7-1 0 0 0,-11 0 0 0 0,-8-4 0 0 0,-11-3 0 0 0,-17-2 0 0 0,-17 2 0 0 0,-16 1 0 0 0,-16 2 0 0 0,-10 1 0 0 0,-4 1 0 0 0,-1 0 0 0 0,1 2 0 0 0,2-1 0 0 0,-1 3 0 0 0,1 1 0 0 0,-4 2 0 0 0,-1 6 0 0 0,4 3 0 0 0,7 2 0 0 0,7 1 0 0 0,12 0 0 0 0,9-1 0 0 0,9 3 0 0 0,9 0 0 0 0,6 2 0 0 0,6 1 0 0 0,9 0 0 0 0,11 1 0 0 0,15-3 0 0 0,12 2 0 0 0,10-1 0 0 0,6 1 0 0 0,8-3 0 0 0,-1 0 0 0 0,1 3 0 0 0,1-1 0 0 0,4-1 0 0 0,4-1 0 0 0,10-2 0 0 0,6-1 0 0 0,8 2 0 0 0,7 3 0 0 0,4 4 0 0 0,4-1 0 0 0,2 1 0 0 0,3 2 0 0 0,2 1 0 0 0,2 1 0 0 0,5 4 0 0 0,3 1 0 0 0,5 5 0 0 0,6 8 0 0 0,2 5 0 0 0,2 10 0 0 0,-1 5 0 0 0,0 2 0 0 0,-1 0 0 0 0,-1-5 0 0 0,-1-7 0 0 0,3-8 0 0 0,0-10 0 0 0,0-10 0 0 0,2-9 0 0 0,1-11 0 0 0,1-8 0 0 0,5-8 0 0 0,3-10 0 0 0,4-7 0 0 0,5-5 0 0 0,6-8 0 0 0,6-7 0 0 0,4-9 0 0 0,7-6 0 0 0,9-7 0 0 0,5-6 0 0 0,6-2 0 0 0,2 2 0 0 0,0 1 0 0 0,-4 5 0 0 0,-4 5 0 0 0,-8 8 0 0 0,-7 7 0 0 0,-10 6 0 0 0,-9 6 0 0 0,-8 8 0 0 0,-7 3 0 0 0,-6 7 0 0 0,-3 6 0 0 0,-5 6 0 0 0,-8 8 0 0 0,-11 4 0 0 0,-8 7 0 0 0,-7 6 0 0 0,-3 4 0 0 0,-2 4 0 0 0,1 1 0 0 0,2 2 0 0 0,2 2 0 0 0,2 7 0 0 0,4 6 0 0 0,1 7 0 0 0,1 9 0 0 0,-1 8 0 0 0,0 4 0 0 0,1 1 0 0 0,1-3 0 0 0,-1-2 0 0 0,2-6 0 0 0,2-6 0 0 0,3-8 0 0 0,5-5 0 0 0,-1-4 0 0 0,1-5 0 0 0,-1-6 0 0 0,1-6 0 0 0,-3-4 0 0 0,-1-4 0 0 0,1-2 0 0 0,0 0 0 0 0,4-4 0 0 0,4-12 0 0 0,4-11 0 0 0,3-6 0 0 0,3-9 0 0 0,0-8 0 0 0,2-3 0 0 0,-1-4 0 0 0,1-2 0 0 0,-3-3 0 0 0,-2-1 0 0 0,1-1 0 0 0,0-2 0 0 0,1-2 0 0 0,3-2 0 0 0,2-3 0 0 0,0-2 0 0 0,0 0 0 0 0,-2 3 0 0 0,1 5 0 0 0,-2 4 0 0 0,0 3 0 0 0,0 5 0 0 0,3 3 0 0 0,0 3 0 0 0,0-2 0 0 0,-1 1 0 0 0,0 0 0 0 0,-1 0 0 0 0,-3 4 0 0 0,-5 1 0 0 0,-2 3 0 0 0,-4 4 0 0 0,1 5 0 0 0,-1 10 0 0 0,3 10 0 0 0,0 7 0 0 0,-4 7 0 0 0,-3 3 0 0 0,3 2 0 0 0,0 1 0 0 0,0 0 0 0 0,-3-3 0 0 0,-2-7 0 0 0</inkml:trace>
</inkml:ink>
</file>

<file path=ppt/ink/ink3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12-22T17:16:33.051"/>
    </inkml:context>
    <inkml:brush xml:id="br0">
      <inkml:brushProperty name="width" value="0.3" units="cm"/>
      <inkml:brushProperty name="height" value="0.6" units="cm"/>
      <inkml:brushProperty name="color" value="#00F900"/>
      <inkml:brushProperty name="tip" value="rectangle"/>
      <inkml:brushProperty name="rasterOp" value="maskPen"/>
    </inkml:brush>
  </inkml:definitions>
  <inkml:trace contextRef="#ctx0" brushRef="#br0">16073 12081 16383 0 0,'11'0'0'0'0,"9"3"0"0"0,9-3 0 0 0,7 0 0 0 0,9 2 0 0 0,7 4 0 0 0,12 3 0 0 0,10 3 0 0 0,8-1 0 0 0,8 1 0 0 0,9 0 0 0 0,9-1 0 0 0,8 0 0 0 0,11-2 0 0 0,6 1 0 0 0,4-3 0 0 0,-3 2 0 0 0,1-2 0 0 0,1-1 0 0 0,2-3 0 0 0,1-3 0 0 0,-4-3 0 0 0,-3 0 0 0 0,-6 0 0 0 0,-5 1 0 0 0,-7 0 0 0 0,-10 1 0 0 0,-8 1 0 0 0,-11 2 0 0 0,-6 2 0 0 0,-3-1 0 0 0,0-2 0 0 0,-1-3 0 0 0,1 3 0 0 0,1 0 0 0 0,-3 1 0 0 0,-2 0 0 0 0,-3-1 0 0 0,-5 0 0 0 0,-3-1 0 0 0,0 0 0 0 0,-4 3 0 0 0,3 1 0 0 0,1-1 0 0 0,2 0 0 0 0,3-2 0 0 0,-1 1 0 0 0,-2-2 0 0 0,-2 1 0 0 0,-5 1 0 0 0,-3 2 0 0 0,-3-1 0 0 0,-1 2 0 0 0,-2 1 0 0 0,0 1 0 0 0,0 2 0 0 0,0 1 0 0 0,-1 0 0 0 0,-1 1 0 0 0,-4-1 0 0 0,-1 1 0 0 0,-4-2 0 0 0,-4 0 0 0 0,-3 2 0 0 0,-2-2 0 0 0,0 1 0 0 0,0 1 0 0 0,2 2 0 0 0,-2 1 0 0 0,0-2 0 0 0,1-3 0 0 0,0-3 0 0 0,5-2 0 0 0,4-3 0 0 0,4 0 0 0 0,2 1 0 0 0,4 1 0 0 0,3 0 0 0 0,1-1 0 0 0,1 0 0 0 0,-4-1 0 0 0,-4-1 0 0 0,-5 1 0 0 0,-6 1 0 0 0,-5 2 0 0 0,-6-1 0 0 0,-3 0 0 0 0,-6-4 0 0 0,-1 1 0 0 0,-4-2 0 0 0,-2 2 0 0 0,-6 1 0 0 0,-5-2 0 0 0,-4-2 0 0 0,-1 4 0 0 0,-1-3 0 0 0,1 3 0 0 0,-1-1 0 0 0,0-2 0 0 0,-2 1 0 0 0,-1-1 0 0 0,-3 1 0 0 0,-2 3 0 0 0,-3 1 0 0 0,-6 0 0 0 0,-6 5 0 0 0,-8 2 0 0 0,-10 0 0 0 0,-13 3 0 0 0,-11-2 0 0 0,-9-2 0 0 0,-6-6 0 0 0,-1-6 0 0 0,2-5 0 0 0,0-6 0 0 0,1-7 0 0 0,-2-2 0 0 0,-2-5 0 0 0,-1-4 0 0 0,-1-1 0 0 0,2-1 0 0 0,4 1 0 0 0,0 0 0 0 0,3 0 0 0 0,-1 1 0 0 0,-1 2 0 0 0,0 5 0 0 0,3 3 0 0 0,4 3 0 0 0,5 2 0 0 0,8 1 0 0 0,7 3 0 0 0,9 2 0 0 0,10 2 0 0 0,10 2 0 0 0,13 4 0 0 0,13 1 0 0 0,12 1 0 0 0,10 4 0 0 0,14 4 0 0 0,10 0 0 0 0,11 2 0 0 0,8 3 0 0 0,4-2 0 0 0,8 1 0 0 0,8-2 0 0 0,10 1 0 0 0,7-2 0 0 0,5 1 0 0 0,0 3 0 0 0,0 4 0 0 0,-1 1 0 0 0,-2 0 0 0 0,1 0 0 0 0,3 0 0 0 0,6 0 0 0 0,0-1 0 0 0,-2-2 0 0 0,-3-2 0 0 0,0-2 0 0 0,1-1 0 0 0,2 2 0 0 0,-1-2 0 0 0,-5 0 0 0 0,-7 5 0 0 0,-4 2 0 0 0,-5 1 0 0 0,-6 3 0 0 0,-8-2 0 0 0,-5-1 0 0 0,-3-1 0 0 0,-4-3 0 0 0,-1-1 0 0 0,-5-3 0 0 0,-3 0 0 0 0,-7 1 0 0 0,-6 5 0 0 0,-9 1 0 0 0,-8 2 0 0 0,-11 0 0 0 0,-12-1 0 0 0,-8 1 0 0 0,-4-4 0 0 0,-6-2 0 0 0,-6-2 0 0 0,-7-3 0 0 0,-8-3 0 0 0,-8-4 0 0 0,-8 0 0 0 0,-10-3 0 0 0,-5 0 0 0 0,-2-3 0 0 0,0-3 0 0 0,0-5 0 0 0,2-3 0 0 0,3-4 0 0 0,0-4 0 0 0,2-3 0 0 0,1-5 0 0 0,-1-2 0 0 0,1-3 0 0 0,-2 0 0 0 0,0-3 0 0 0,4 1 0 0 0,6 2 0 0 0,7 2 0 0 0,4 2 0 0 0,6 1 0 0 0,2 1 0 0 0,2 0 0 0 0,0 1 0 0 0,2 2 0 0 0,0 2 0 0 0,0-1 0 0 0,-2 2 0 0 0,-1 3 0 0 0,3 2 0 0 0,-2 2 0 0 0,1 5 0 0 0,-2 4 0 0 0,2 4 0 0 0,1 1 0 0 0,4 3 0 0 0,6 3 0 0 0,9 0 0 0 0,11 3 0 0 0,12 1 0 0 0,10 0 0 0 0,14 1 0 0 0,9-2 0 0 0,10-3 0 0 0,10-1 0 0 0,8-1 0 0 0,9 1 0 0 0,6-1 0 0 0,-1 3 0 0 0,-6 4 0 0 0,-9 3 0 0 0,-12 3 0 0 0,-14 3 0 0 0,-13 0 0 0 0,-12 2 0 0 0,-11-4 0 0 0,-8-2 0 0 0,-6-2 0 0 0,-5-2 0 0 0,-1-1 0 0 0,-3-3 0 0 0,-7-2 0 0 0,-9 0 0 0 0,-13-1 0 0 0,-13-1 0 0 0,-12 4 0 0 0,-10-3 0 0 0,-7 0 0 0 0,-4-4 0 0 0,-2-3 0 0 0,-3-4 0 0 0,-4-2 0 0 0,-5-4 0 0 0,-9-5 0 0 0,-7-1 0 0 0,-11 0 0 0 0,-6-1 0 0 0,-2 4 0 0 0,-2-1 0 0 0,3 1 0 0 0,7 4 0 0 0,5 2 0 0 0,3 3 0 0 0,2 7 0 0 0,4 6 0 0 0,4 3 0 0 0,5-3 0 0 0,7 2 0 0 0,4 0 0 0 0,4 2 0 0 0,0 0 0 0 0,0 2 0 0 0,3-1 0 0 0,5 1 0 0 0,7 0 0 0 0,9-2 0 0 0,10-2 0 0 0,9-2 0 0 0,10-1 0 0 0,6 0 0 0 0,5 1 0 0 0,0 2 0 0 0,-2 1 0 0 0,-3 1 0 0 0,-1 2 0 0 0,0-1 0 0 0,-3 2 0 0 0,1 4 0 0 0,-3 3 0 0 0,-4 4 0 0 0,-3 4 0 0 0,-3 6 0 0 0,-2 5 0 0 0,0 4 0 0 0,1 1 0 0 0,6 6 0 0 0,5 3 0 0 0,8 7 0 0 0,7 3 0 0 0,10 10 0 0 0,7 7 0 0 0,6 11 0 0 0,2 12 0 0 0,4 2 0 0 0,5 0 0 0 0,5-3 0 0 0,3-3 0 0 0,2-6 0 0 0,2-8 0 0 0,1-7 0 0 0,2-10 0 0 0,4-12 0 0 0,3-11 0 0 0,3-10 0 0 0,4-10 0 0 0,8-12 0 0 0,7-12 0 0 0,9-12 0 0 0,5-13 0 0 0,7-16 0 0 0,-2-13 0 0 0,-1-11 0 0 0,-6-5 0 0 0,-5-3 0 0 0,-10 1 0 0 0,-7 2 0 0 0,-7 6 0 0 0,-9 5 0 0 0,-5 4 0 0 0,-9 0 0 0 0,-5 4 0 0 0,-6 7 0 0 0,-6 9 0 0 0,-5 7 0 0 0,-5 7 0 0 0,-5 10 0 0 0,-11 7 0 0 0,-7 8 0 0 0,-4 6 0 0 0,-3 8 0 0 0,-1 8 0 0 0,3 10 0 0 0,4 6 0 0 0,1 8 0 0 0,-3 9 0 0 0,-2 6 0 0 0,-3 5 0 0 0,-5 6 0 0 0,2 0 0 0 0,3 2 0 0 0,6-4 0 0 0,8-7 0 0 0,8-5 0 0 0,8-7 0 0 0,8-8 0 0 0,8-9 0 0 0,9-6 0 0 0,2-7 0 0 0,3-7 0 0 0,2-5 0 0 0,3-8 0 0 0,3-6 0 0 0,2-3 0 0 0,2-9 0 0 0,4-6 0 0 0,2-10 0 0 0,4-14 0 0 0,5-12 0 0 0,5-9 0 0 0,5-13 0 0 0,6-8 0 0 0,1-9 0 0 0,6-3 0 0 0,0-1 0 0 0,1-2 0 0 0,4 0 0 0 0,0 4 0 0 0,4 6 0 0 0,3 5 0 0 0,1 4 0 0 0,-3 3 0 0 0,-6 2 0 0 0,-10 3 0 0 0,-14 5 0 0 0,-16 8 0 0 0,-17 7 0 0 0,-19 10 0 0 0,-17 11 0 0 0,-18 5 0 0 0,-17 6 0 0 0,-10 4 0 0 0,-10 2 0 0 0,-3 2 0 0 0,-3 1 0 0 0,2 3 0 0 0,4 1 0 0 0,2 2 0 0 0,2 0 0 0 0,-2 2 0 0 0,0-1 0 0 0,-3 1 0 0 0,3 2 0 0 0,2 1 0 0 0,3 2 0 0 0,8 1 0 0 0,4 4 0 0 0,-1 3 0 0 0,1 1 0 0 0,1 0 0 0 0,0 0 0 0 0,3 0 0 0 0,6-1 0 0 0,11-2 0 0 0,9-2 0 0 0,14-1 0 0 0,13-3 0 0 0,15-2 0 0 0,16-2 0 0 0,14-4 0 0 0,14-2 0 0 0,14-2 0 0 0,19-3 0 0 0,23-3 0 0 0,37-2 0 0 0,37-1 0 0 0,36-1 0 0 0,30 3 0 0 0,15 2 0 0 0,7 2 0 0 0,-3 2 0 0 0,-8 2 0 0 0,-14 2 0 0 0,-21-1 0 0 0,-25 2 0 0 0,-24 3 0 0 0,-31 2 0 0 0,-31 5 0 0 0,-33 5 0 0 0,-30 5 0 0 0,-28 0 0 0 0,-26-2 0 0 0,-17-1 0 0 0,-13-6 0 0 0,-12-4 0 0 0,-8-6 0 0 0,-6-3 0 0 0,-5-3 0 0 0,-6-1 0 0 0,-3 0 0 0 0,-6-4 0 0 0,-4-3 0 0 0,0 0 0 0 0,3-3 0 0 0,3 2 0 0 0,2-1 0 0 0,4 1 0 0 0,-2 2 0 0 0,-2 2 0 0 0,-2 1 0 0 0,1 2 0 0 0,4 1 0 0 0,4 1 0 0 0,7 2 0 0 0,5 1 0 0 0,2 3 0 0 0,2 2 0 0 0,-2 3 0 0 0,-4 2 0 0 0,-4-1 0 0 0,-5-1 0 0 0,-1-1 0 0 0,0-1 0 0 0,2-2 0 0 0,1-1 0 0 0,1-1 0 0 0,2 3 0 0 0,-2 2 0 0 0,-4-1 0 0 0,0 3 0 0 0,-1 2 0 0 0,-1 2 0 0 0,3 0 0 0 0,1 3 0 0 0,2 1 0 0 0,2 1 0 0 0,0 1 0 0 0,-2 2 0 0 0,0 1 0 0 0,0 2 0 0 0,0 2 0 0 0,-2 1 0 0 0,3-2 0 0 0,4-1 0 0 0,8-1 0 0 0,6-4 0 0 0,7-3 0 0 0,4-1 0 0 0,4 0 0 0 0,3 1 0 0 0,8 2 0 0 0,9-3 0 0 0,10 1 0 0 0,8-1 0 0 0,8 3 0 0 0,10 0 0 0 0,9-2 0 0 0,9 2 0 0 0,12 5 0 0 0,17 7 0 0 0,27 10 0 0 0,36 11 0 0 0,45 13 0 0 0,37 8 0 0 0,24 4 0 0 0,18 0 0 0 0,8-6 0 0 0,-4-7 0 0 0,-9-10 0 0 0,-13-9 0 0 0,-17-7 0 0 0,-22-8 0 0 0,-27-7 0 0 0,-30-5 0 0 0,-28-4 0 0 0,-29-4 0 0 0,-31-5 0 0 0,-29-3 0 0 0,-26 0 0 0 0,-19-1 0 0 0,-12-1 0 0 0,-9-1 0 0 0,-3 0 0 0 0,-2-2 0 0 0,0-2 0 0 0,1-4 0 0 0,1-4 0 0 0,3-2 0 0 0,2-3 0 0 0,6 0 0 0 0,2-1 0 0 0,3-1 0 0 0,1 4 0 0 0,-1 0 0 0 0,-1 3 0 0 0,-7 3 0 0 0,-8 3 0 0 0,-8 2 0 0 0,-9 2 0 0 0,-8 3 0 0 0,-3 4 0 0 0,0 0 0 0 0,3 3 0 0 0,11 2 0 0 0,9 1 0 0 0,18 2 0 0 0,14-3 0 0 0,15 1 0 0 0,13 0 0 0 0,10 1 0 0 0,8 0 0 0 0,8 1 0 0 0,7-2 0 0 0,7-1 0 0 0,8-2 0 0 0,7 0 0 0 0,5 1 0 0 0,4 1 0 0 0,0 1 0 0 0,-3 5 0 0 0,-1 3 0 0 0,1 2 0 0 0,2 2 0 0 0,3 0 0 0 0,5-2 0 0 0,7-3 0 0 0,3-1 0 0 0,3-1 0 0 0,1-1 0 0 0,2-4 0 0 0,0-1 0 0 0,0-2 0 0 0,-4-1 0 0 0,-5 1 0 0 0,-7 2 0 0 0,-10-1 0 0 0,-10-3 0 0 0,-7 0 0 0 0,-2 2 0 0 0,-1 1 0 0 0,5 2 0 0 0,5 2 0 0 0,3 0 0 0 0,3 1 0 0 0,3 0 0 0 0,0 1 0 0 0,-1-1 0 0 0,0 0 0 0 0,-2 1 0 0 0,2-1 0 0 0,-2 0 0 0 0,1-3 0 0 0,0 0 0 0 0,-5-4 0 0 0,0-2 0 0 0,-3-2 0 0 0,-2 0 0 0 0,-3-1 0 0 0,-3-3 0 0 0,-3 1 0 0 0,-2 0 0 0 0,0 2 0 0 0,1 3 0 0 0,-1 4 0 0 0,0 2 0 0 0,-1 2 0 0 0,-4 1 0 0 0,-1 0 0 0 0,-2 1 0 0 0,-1 2 0 0 0,-2-2 0 0 0,-2-1 0 0 0,-5 0 0 0 0,-2-1 0 0 0,-1 1 0 0 0,0-1 0 0 0,5 1 0 0 0,4-1 0 0 0,2 1 0 0 0,2 0 0 0 0,3-2 0 0 0,-1-2 0 0 0,0 1 0 0 0,-3 0 0 0 0,-4 1 0 0 0,-5 1 0 0 0,-3 0 0 0 0,-6 4 0 0 0,-5-3 0 0 0,-7 3 0 0 0,-7 0 0 0 0,-8 0 0 0 0,-7-1 0 0 0,-22 0 0 0 0,-5-2 0 0 0</inkml:trace>
</inkml:ink>
</file>

<file path=ppt/ink/ink3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12-22T17:16:33.052"/>
    </inkml:context>
    <inkml:brush xml:id="br0">
      <inkml:brushProperty name="width" value="0.3" units="cm"/>
      <inkml:brushProperty name="height" value="0.6" units="cm"/>
      <inkml:brushProperty name="color" value="#00F900"/>
      <inkml:brushProperty name="tip" value="rectangle"/>
      <inkml:brushProperty name="rasterOp" value="maskPen"/>
    </inkml:brush>
  </inkml:definitions>
  <inkml:trace contextRef="#ctx0" brushRef="#br0">19301 11073 16383 0 0,'11'0'0'0'0,"9"0"0"0"0,9 0 0 0 0,7 0 0 0 0,6 0 0 0 0,7 0 0 0 0,8 0 0 0 0,8 2 0 0 0,6 2 0 0 0,5-1 0 0 0,0 3 0 0 0,0 2 0 0 0,-1 6 0 0 0,-3 0 0 0 0,-4 0 0 0 0,-1 1 0 0 0,-3 0 0 0 0,0-2 0 0 0,4-1 0 0 0,2 1 0 0 0,2-3 0 0 0,0 1 0 0 0,-2 0 0 0 0,-2 1 0 0 0,-5 2 0 0 0,-1 1 0 0 0,-2-3 0 0 0,1-2 0 0 0,2-1 0 0 0,8-2 0 0 0,4 1 0 0 0,4 1 0 0 0,1 0 0 0 0,0-3 0 0 0,-2-1 0 0 0,-3-2 0 0 0,-5-2 0 0 0,3 0 0 0 0,4-1 0 0 0,6 0 0 0 0,2-4 0 0 0,2 1 0 0 0,4-1 0 0 0,-2 1 0 0 0,-1-2 0 0 0,-1 0 0 0 0,2 1 0 0 0,4 1 0 0 0,0 1 0 0 0,3 1 0 0 0,-1-2 0 0 0,-1-1 0 0 0,-1 1 0 0 0,4 3 0 0 0,0 2 0 0 0,3-2 0 0 0,1 1 0 0 0,-4-2 0 0 0,-1 0 0 0 0,-5-1 0 0 0,-4 0 0 0 0,2 4 0 0 0,0 0 0 0 0,0 1 0 0 0,1 3 0 0 0,2-1 0 0 0,1 0 0 0 0,1-5 0 0 0,3-1 0 0 0,2-4 0 0 0,2 0 0 0 0,0-1 0 0 0,0 0 0 0 0,-2-3 0 0 0,-2 0 0 0 0,-1 2 0 0 0,-3-1 0 0 0,-4 1 0 0 0,-7 2 0 0 0,-6-1 0 0 0,-8-2 0 0 0,-5 0 0 0 0,-5 2 0 0 0,-7 1 0 0 0,-7 0 0 0 0,-3 0 0 0 0,-3 1 0 0 0,-2 1 0 0 0,0 1 0 0 0,0 1 0 0 0,1 1 0 0 0,1 0 0 0 0,-2 0 0 0 0,-4 0 0 0 0,-1 3 0 0 0,-2 4 0 0 0,-2 0 0 0 0,-4-1 0 0 0,-2 1 0 0 0,-3 0 0 0 0,-4 1 0 0 0,-2 2 0 0 0,0-3 0 0 0,-2-6 0 0 0,-6-6 0 0 0,-3-2 0 0 0</inkml:trace>
</inkml:ink>
</file>

<file path=ppt/ink/ink3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12-22T17:16:33.053"/>
    </inkml:context>
    <inkml:brush xml:id="br0">
      <inkml:brushProperty name="width" value="0.3" units="cm"/>
      <inkml:brushProperty name="height" value="0.6" units="cm"/>
      <inkml:brushProperty name="color" value="#00F900"/>
      <inkml:brushProperty name="tip" value="rectangle"/>
      <inkml:brushProperty name="rasterOp" value="maskPen"/>
    </inkml:brush>
  </inkml:definitions>
  <inkml:trace contextRef="#ctx0" brushRef="#br0">20374 10392 16383 0 0,'-6'0'0'0'0,"10"11"0"0"0,6 4 0 0 0,5 1 0 0 0,4-2 0 0 0,5-2 0 0 0,9-2 0 0 0,10-2 0 0 0,10 0 0 0 0,16 2 0 0 0,14 1 0 0 0,16 0 0 0 0,11-3 0 0 0,6 0 0 0 0,3-1 0 0 0,-4-5 0 0 0,-2 1 0 0 0,-4-1 0 0 0,1-1 0 0 0,-3 0 0 0 0,0 0 0 0 0,-2 2 0 0 0,-6 0 0 0 0,-9 3 0 0 0,-6 0 0 0 0,-4-3 0 0 0,-2-3 0 0 0,1-3 0 0 0,2-2 0 0 0,-1-3 0 0 0,-2 1 0 0 0,-4-2 0 0 0,-4 1 0 0 0,-3 2 0 0 0,-3 2 0 0 0,0-2 0 0 0,-1 1 0 0 0,-1-1 0 0 0,1 0 0 0 0,-1 1 0 0 0,1-2 0 0 0,0 1 0 0 0,-3-1 0 0 0,2 0 0 0 0,2-1 0 0 0,2 1 0 0 0,4 1 0 0 0,4 2 0 0 0,2 2 0 0 0,-3 1 0 0 0,-4 0 0 0 0,-5-1 0 0 0,-3-2 0 0 0,-4 1 0 0 0,-1 1 0 0 0,2-2 0 0 0,0-1 0 0 0,5 1 0 0 0,2 1 0 0 0,0 1 0 0 0,1-2 0 0 0,-4 0 0 0 0,0 1 0 0 0,-4 0 0 0 0,-4-1 0 0 0,1-1 0 0 0,1 1 0 0 0,1-1 0 0 0,3-1 0 0 0,1 2 0 0 0,2-2 0 0 0,0 3 0 0 0,-3 2 0 0 0,-2 1 0 0 0,-5 1 0 0 0,-1-3 0 0 0,-3-1 0 0 0,-2 1 0 0 0,0-1 0 0 0,0 4 0 0 0,0 2 0 0 0,-3-3 0 0 0,-1-1 0 0 0,1-1 0 0 0,-2 1 0 0 0,-3 0 0 0 0,-5 0 0 0 0,-6 3 0 0 0,-5 1 0 0 0,-4-2 0 0 0,-2 1 0 0 0,-1 0 0 0 0,-1 0 0 0 0,-3 2 0 0 0,-1 1 0 0 0,0-1 0 0 0,-1 1 0 0 0,-2 1 0 0 0</inkml:trace>
</inkml:ink>
</file>

<file path=ppt/ink/ink3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12-22T17:16:33.054"/>
    </inkml:context>
    <inkml:brush xml:id="br0">
      <inkml:brushProperty name="width" value="0.3" units="cm"/>
      <inkml:brushProperty name="height" value="0.6" units="cm"/>
      <inkml:brushProperty name="color" value="#0069AF"/>
      <inkml:brushProperty name="tip" value="rectangle"/>
      <inkml:brushProperty name="rasterOp" value="maskPen"/>
    </inkml:brush>
  </inkml:definitions>
  <inkml:trace contextRef="#ctx0" brushRef="#br0">20678 10690 16383 0 0,'-8'-8'0'0'0,"11"11"0"0"0,18 10 0 0 0,22 6 0 0 0,22 2 0 0 0,22-3 0 0 0,17-4 0 0 0,16-4 0 0 0,16-4 0 0 0,12-6 0 0 0,8-6 0 0 0,7-4 0 0 0,-24 0 0 0 0</inkml:trace>
</inkml:ink>
</file>

<file path=ppt/ink/ink3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12-22T17:16:33.055"/>
    </inkml:context>
    <inkml:brush xml:id="br0">
      <inkml:brushProperty name="width" value="0.2" units="cm"/>
      <inkml:brushProperty name="height" value="0.4" units="cm"/>
      <inkml:brushProperty name="color" value="#FF2500"/>
      <inkml:brushProperty name="tip" value="rectangle"/>
      <inkml:brushProperty name="rasterOp" value="maskPen"/>
    </inkml:brush>
  </inkml:definitions>
  <inkml:trace contextRef="#ctx0" brushRef="#br0">13744 10864 16383 0 0,'-3'-3'0'0'0,"8"17"0"0"0,9 8 0 0 0,10 4 0 0 0,11 0 0 0 0,13-4 0 0 0,10-6 0 0 0,13-9 0 0 0,12-5 0 0 0,8-6 0 0 0,8-5 0 0 0,0-1 0 0 0,-2-2 0 0 0,-2 1 0 0 0,-7 0 0 0 0,-3 1 0 0 0,-4 0 0 0 0,-3-1 0 0 0,2 0 0 0 0,-3 1 0 0 0,-1-2 0 0 0,-7 1 0 0 0,-2 3 0 0 0,-4 2 0 0 0,-1 3 0 0 0,-3 1 0 0 0,1 2 0 0 0,1 0 0 0 0,3 0 0 0 0,4 1 0 0 0,2-1 0 0 0,1 1 0 0 0,-2-1 0 0 0,-5 0 0 0 0,-5 0 0 0 0,0 3 0 0 0,-2 1 0 0 0,1-3 0 0 0,0 1 0 0 0,1 0 0 0 0,5 0 0 0 0,4 0 0 0 0,1-1 0 0 0,-2-1 0 0 0,-3-2 0 0 0,-8-2 0 0 0,-7 0 0 0 0,-5 1 0 0 0,-9-2 0 0 0,-6 3 0 0 0,-6 1 0 0 0,-4 1 0 0 0,-4 4 0 0 0,-6-2 0 0 0,-7-1 0 0 0,-6-1 0 0 0,-6-1 0 0 0,-7 0 0 0 0,-6 1 0 0 0,-6-3 0 0 0,-5-4 0 0 0,-10-1 0 0 0,-14-2 0 0 0,-15 1 0 0 0,-18-1 0 0 0,-17-1 0 0 0,-13-3 0 0 0,-7-1 0 0 0,-4-1 0 0 0,-3-1 0 0 0,-5 0 0 0 0,-5 0 0 0 0,2-1 0 0 0,3 1 0 0 0,4 0 0 0 0,5-1 0 0 0,4 1 0 0 0,4 3 0 0 0,6 1 0 0 0,4 2 0 0 0,11 4 0 0 0,7 2 0 0 0,6 6 0 0 0,1-1 0 0 0,3 3 0 0 0,2 0 0 0 0,0 1 0 0 0,3-4 0 0 0,7-2 0 0 0,6-1 0 0 0,9 1 0 0 0,12 0 0 0 0,7 1 0 0 0,8 0 0 0 0,4 1 0 0 0,-1 2 0 0 0,3 2 0 0 0,-1 0 0 0 0,2 2 0 0 0,1 0 0 0 0,5 2 0 0 0,3-3 0 0 0,6 0 0 0 0,6 2 0 0 0,5 1 0 0 0,6 0 0 0 0,4 1 0 0 0,3 0 0 0 0,5-1 0 0 0,4 1 0 0 0,8 0 0 0 0,6 0 0 0 0,6 2 0 0 0,7 2 0 0 0,6 4 0 0 0,9 3 0 0 0,9 0 0 0 0,13 1 0 0 0,15-2 0 0 0,10 0 0 0 0,6-1 0 0 0,6 0 0 0 0,5-4 0 0 0,4-1 0 0 0,5-5 0 0 0,2-5 0 0 0,3-2 0 0 0,1-2 0 0 0,4 0 0 0 0,3-7 0 0 0,2-1 0 0 0,-2 1 0 0 0,-4-1 0 0 0,0 0 0 0 0,0 3 0 0 0,1-1 0 0 0,-4 0 0 0 0,-4 2 0 0 0,-3 2 0 0 0,2 1 0 0 0,0 1 0 0 0,3 1 0 0 0,-4 3 0 0 0,-1 1 0 0 0,-2 3 0 0 0,1 0 0 0 0,-5 2 0 0 0,-5-1 0 0 0,-9 1 0 0 0,-8 0 0 0 0,-10 3 0 0 0,-3 0 0 0 0,-4-2 0 0 0,-4 0 0 0 0,-2-1 0 0 0,-4 0 0 0 0,-5-1 0 0 0,-4 1 0 0 0,-9-1 0 0 0,-6-3 0 0 0,-5 2 0 0 0,-6 0 0 0 0,-2-3 0 0 0,-3 0 0 0 0,-1-2 0 0 0,-1 2 0 0 0,-4 0 0 0 0,-7-1 0 0 0,-4 3 0 0 0,4 5 0 0 0,-3 2 0 0 0</inkml:trace>
</inkml:ink>
</file>

<file path=ppt/ink/ink3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12-22T17:16:33.056"/>
    </inkml:context>
    <inkml:brush xml:id="br0">
      <inkml:brushProperty name="width" value="0.2" units="cm"/>
      <inkml:brushProperty name="height" value="0.4" units="cm"/>
      <inkml:brushProperty name="color" value="#FF2500"/>
      <inkml:brushProperty name="tip" value="rectangle"/>
      <inkml:brushProperty name="rasterOp" value="maskPen"/>
    </inkml:brush>
  </inkml:definitions>
  <inkml:trace contextRef="#ctx0" brushRef="#br0">16007 10710 16383 0 0,'15'3'0'0'0,"10"1"0"0"0,10 0 0 0 0,4-1 0 0 0,5-1 0 0 0,9-1 0 0 0,8 0 0 0 0,13-1 0 0 0,11 0 0 0 0,10-3 0 0 0,8-1 0 0 0,10 0 0 0 0,9 1 0 0 0,9 1 0 0 0,7-2 0 0 0,-3-1 0 0 0,-8 1 0 0 0,-7 1 0 0 0,-7 1 0 0 0,-6 1 0 0 0,-2 0 0 0 0,-6 1 0 0 0,-11 0 0 0 0,-11-2 0 0 0,-13-2 0 0 0,-14 0 0 0 0,-20 2 0 0 0,-16 0 0 0 0,-18 0 0 0 0,-10 2 0 0 0,-12-1 0 0 0,-7 1 0 0 0,-6 1 0 0 0,-6-1 0 0 0,-4 0 0 0 0,-8 0 0 0 0,-9 0 0 0 0,-10 3 0 0 0,-10 1 0 0 0,-5 0 0 0 0,-2-1 0 0 0,2-1 0 0 0,0-1 0 0 0,-1 3 0 0 0,-5 3 0 0 0,-10 0 0 0 0,-3 3 0 0 0,-4 1 0 0 0,0 3 0 0 0,2 1 0 0 0,3 2 0 0 0,5 0 0 0 0,6 0 0 0 0,8 3 0 0 0,8 2 0 0 0,6 5 0 0 0,16-2 0 0 0</inkml:trace>
</inkml:ink>
</file>

<file path=ppt/ink/ink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12-22T17:16:33.021"/>
    </inkml:context>
    <inkml:brush xml:id="br0">
      <inkml:brushProperty name="width" value="0.3" units="cm"/>
      <inkml:brushProperty name="height" value="0.6" units="cm"/>
      <inkml:brushProperty name="color" value="#FF2500"/>
      <inkml:brushProperty name="tip" value="rectangle"/>
      <inkml:brushProperty name="rasterOp" value="maskPen"/>
    </inkml:brush>
  </inkml:definitions>
  <inkml:trace contextRef="#ctx0" brushRef="#br0">14358 9697 16383 0 0,'-3'3'0'0'0,"-11"-2"0"0"0,-6-2 0 0 0,-3 1 0 0 0,0-1 0 0 0,5 3 0 0 0,1 1 0 0 0,2 0 0 0 0,4-3 0 0 0,0-2 0 0 0,-1 0 0 0 0,0 2 0 0 0,-1 2 0 0 0,-1 3 0 0 0,-1 1 0 0 0,2-4 0 0 0,1-2 0 0 0,2 2 0 0 0,0 3 0 0 0,5 1 0 0 0,5-1 0 0 0,4 2 0 0 0,2-1 0 0 0,2 2 0 0 0,1-1 0 0 0,0-1 0 0 0</inkml:trace>
</inkml:ink>
</file>

<file path=ppt/ink/ink4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12-22T17:16:33.057"/>
    </inkml:context>
    <inkml:brush xml:id="br0">
      <inkml:brushProperty name="width" value="0.2" units="cm"/>
      <inkml:brushProperty name="height" value="0.4" units="cm"/>
      <inkml:brushProperty name="color" value="#FF2500"/>
      <inkml:brushProperty name="tip" value="rectangle"/>
      <inkml:brushProperty name="rasterOp" value="maskPen"/>
    </inkml:brush>
  </inkml:definitions>
  <inkml:trace contextRef="#ctx0" brushRef="#br0">14084 14552 16383 0 0,'14'-3'0'0'0,"14"-1"0"0"0,14 0 0 0 0,16 1 0 0 0,17 1 0 0 0,18-2 0 0 0,17 2 0 0 0,16 2 0 0 0,12-2 0 0 0,9 2 0 0 0,3 1 0 0 0,5-2 0 0 0,2-5 0 0 0,3-3 0 0 0,1-3 0 0 0,-1-1 0 0 0,-4 1 0 0 0,-6 1 0 0 0,-5 3 0 0 0,-4 5 0 0 0,-8 4 0 0 0,-7 2 0 0 0,-8-4 0 0 0,-5 0 0 0 0,-3-4 0 0 0,-5-1 0 0 0,-3-1 0 0 0,-1-1 0 0 0,-1 1 0 0 0,-3 3 0 0 0,-3 1 0 0 0,0 1 0 0 0,4 2 0 0 0,3 0 0 0 0,-1 0 0 0 0,-1-3 0 0 0,-2 0 0 0 0,-3-1 0 0 0,-6 2 0 0 0,-7-3 0 0 0,-4 0 0 0 0,-8 3 0 0 0,-9 3 0 0 0,-13 0 0 0 0,-10 1 0 0 0,-15 0 0 0 0,-14-1 0 0 0,-15 0 0 0 0,-8-1 0 0 0,-11 3 0 0 0,-6-2 0 0 0,-10-1 0 0 0,-9 2 0 0 0,-13-2 0 0 0,-14 2 0 0 0,-10 1 0 0 0,-11-1 0 0 0,-9 0 0 0 0,-9-1 0 0 0,-11 0 0 0 0,-10-1 0 0 0,-5 4 0 0 0,-3-1 0 0 0,-4 1 0 0 0,-3 2 0 0 0,0 0 0 0 0,1-1 0 0 0,2-5 0 0 0,2-1 0 0 0,0-2 0 0 0,0 1 0 0 0,1-3 0 0 0,6 0 0 0 0,9-3 0 0 0,10-2 0 0 0,10 0 0 0 0,8 2 0 0 0,10-1 0 0 0,6 2 0 0 0,6-2 0 0 0,6 2 0 0 0,4 1 0 0 0,3 2 0 0 0,1 2 0 0 0,-2 1 0 0 0,-1 0 0 0 0,-3 4 0 0 0,-3 1 0 0 0,0 0 0 0 0,-2 0 0 0 0,4-2 0 0 0,4-3 0 0 0,4 1 0 0 0,2 0 0 0 0,1 1 0 0 0,0 0 0 0 0,-1-1 0 0 0,-5 3 0 0 0,-1 2 0 0 0,0-2 0 0 0,3 0 0 0 0,4 0 0 0 0,8-2 0 0 0,7-3 0 0 0,6-2 0 0 0,2 0 0 0 0,2 1 0 0 0,2 1 0 0 0,1 0 0 0 0,4 2 0 0 0,2-1 0 0 0,2 1 0 0 0,7-3 0 0 0,10 0 0 0 0,12-1 0 0 0,12-2 0 0 0,9 1 0 0 0,7 0 0 0 0,5 1 0 0 0,2 2 0 0 0,3 0 0 0 0,4 2 0 0 0,4 3 0 0 0,2 3 0 0 0,4 5 0 0 0,3 3 0 0 0,5 4 0 0 0,5 3 0 0 0,8 3 0 0 0,11 1 0 0 0,10-1 0 0 0,5-2 0 0 0,4-2 0 0 0,1-4 0 0 0,0-5 0 0 0,3-4 0 0 0,3-3 0 0 0,6-3 0 0 0,4-1 0 0 0,-2-1 0 0 0,-1-3 0 0 0,0-1 0 0 0,1 1 0 0 0,2 1 0 0 0,2 0 0 0 0,-3 2 0 0 0,-4 0 0 0 0,-5-2 0 0 0,-4-1 0 0 0,-2 0 0 0 0,1-1 0 0 0,-3-1 0 0 0,-5 1 0 0 0,-4 2 0 0 0,-6-3 0 0 0,-7 1 0 0 0,-3 1 0 0 0,-2 1 0 0 0,-1 1 0 0 0,2 1 0 0 0,0 0 0 0 0,-2 1 0 0 0,1 1 0 0 0,-4-1 0 0 0,0-3 0 0 0,0-1 0 0 0,2-2 0 0 0,6-1 0 0 0,7 1 0 0 0,3 5 0 0 0,0-1 0 0 0,3 3 0 0 0,-3 2 0 0 0,1-1 0 0 0,-4-2 0 0 0,-2-2 0 0 0,-1-4 0 0 0,0 0 0 0 0,-3 4 0 0 0,-3-2 0 0 0,-7-1 0 0 0,-7-2 0 0 0,-4 2 0 0 0,-8 1 0 0 0,-7 1 0 0 0,-4 2 0 0 0,-8 0 0 0 0,-5 1 0 0 0,-11 0 0 0 0,-11 0 0 0 0,-10 1 0 0 0,-9 2 0 0 0,-12 4 0 0 0,-10 0 0 0 0,-5 0 0 0 0,-5-2 0 0 0,-2-1 0 0 0,-3-5 0 0 0,-7-2 0 0 0,-9-1 0 0 0,-13 1 0 0 0,-16 4 0 0 0,-13 1 0 0 0,-11 4 0 0 0,-8 0 0 0 0,-6-1 0 0 0,-1 3 0 0 0,0-1 0 0 0,1-2 0 0 0,7-1 0 0 0,7-2 0 0 0,3-4 0 0 0,5-1 0 0 0,0-1 0 0 0,2-2 0 0 0,2 0 0 0 0,4 1 0 0 0,6-2 0 0 0,7 0 0 0 0,8-1 0 0 0,6 1 0 0 0,4 1 0 0 0,0 2 0 0 0,-2 1 0 0 0,0 2 0 0 0,0 1 0 0 0,5-3 0 0 0,5-4 0 0 0,5 0 0 0 0,3-2 0 0 0,6 0 0 0 0,6 2 0 0 0,4 2 0 0 0,6 2 0 0 0,6 2 0 0 0,8 3 0 0 0,4-1 0 0 0,5 2 0 0 0,4-2 0 0 0,13-2 0 0 0,7 0 0 0 0,8 0 0 0 0,9-1 0 0 0,5 5 0 0 0,5 3 0 0 0,8 4 0 0 0,7 0 0 0 0,8 2 0 0 0,9 1 0 0 0,9 2 0 0 0,17-2 0 0 0,15-1 0 0 0,12 2 0 0 0,10-6 0 0 0,9-3 0 0 0,8-3 0 0 0,5-2 0 0 0,2 2 0 0 0,-3-2 0 0 0,-5-1 0 0 0,-1-3 0 0 0,-4-2 0 0 0,-6-2 0 0 0,-7-2 0 0 0,-5 0 0 0 0,-7-1 0 0 0,-7-2 0 0 0,-6 2 0 0 0,0-1 0 0 0,-4 0 0 0 0,-6 1 0 0 0,-4 2 0 0 0,-10 4 0 0 0,-14 1 0 0 0,-12 3 0 0 0,-16 3 0 0 0,-22 5 0 0 0,-19 4 0 0 0,-16 0 0 0 0,-11-1 0 0 0,-10-1 0 0 0,-8-3 0 0 0,-4-4 0 0 0,-7-5 0 0 0,-5-1 0 0 0,-9-4 0 0 0,-14 0 0 0 0,-19-1 0 0 0,-18-3 0 0 0,-12-2 0 0 0,-6-1 0 0 0,-7 1 0 0 0,-4 1 0 0 0,0 0 0 0 0,2-2 0 0 0,2 0 0 0 0,4-1 0 0 0,2 2 0 0 0,1 1 0 0 0,4 2 0 0 0,7 1 0 0 0,11 1 0 0 0,11 0 0 0 0,8-1 0 0 0,10 0 0 0 0,4 2 0 0 0,0 3 0 0 0,-2 2 0 0 0,1 2 0 0 0,1-3 0 0 0,5 0 0 0 0,6 1 0 0 0,9 1 0 0 0,10 0 0 0 0,11 1 0 0 0,10 3 0 0 0,10 5 0 0 0,18 3 0 0 0,15 1 0 0 0,12-2 0 0 0,7-2 0 0 0,8 0 0 0 0,6-1 0 0 0,7 2 0 0 0,6-1 0 0 0,11 4 0 0 0,12 3 0 0 0,9 3 0 0 0,13 0 0 0 0,12 1 0 0 0,8 3 0 0 0,8 1 0 0 0,9 0 0 0 0,6-5 0 0 0,5-1 0 0 0,7-7 0 0 0,1-5 0 0 0,1-3 0 0 0,2-2 0 0 0,0-3 0 0 0,-4-1 0 0 0,-3 0 0 0 0,-7 1 0 0 0,-8 1 0 0 0,-11 1 0 0 0,-12-2 0 0 0,-11 0 0 0 0,-16 1 0 0 0,-13-3 0 0 0,-14 0 0 0 0,-15 1 0 0 0,-12 2 0 0 0,-13 1 0 0 0</inkml:trace>
</inkml:ink>
</file>

<file path=ppt/ink/ink4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12-22T17:16:33.058"/>
    </inkml:context>
    <inkml:brush xml:id="br0">
      <inkml:brushProperty name="width" value="0.2" units="cm"/>
      <inkml:brushProperty name="height" value="0.4" units="cm"/>
      <inkml:brushProperty name="color" value="#FFFC00"/>
      <inkml:brushProperty name="tip" value="rectangle"/>
      <inkml:brushProperty name="rasterOp" value="maskPen"/>
    </inkml:brush>
  </inkml:definitions>
  <inkml:trace contextRef="#ctx0" brushRef="#br0">13870 8859 16383 0 0,'-3'-23'0'0'0,"14"-2"0"0"0,10 6 0 0 0,11 12 0 0 0,9 8 0 0 0,5 9 0 0 0,7 5 0 0 0,7 1 0 0 0,6 1 0 0 0,11-1 0 0 0,5 1 0 0 0,8-3 0 0 0,5-1 0 0 0,3 1 0 0 0,4-3 0 0 0,1-3 0 0 0,-2 1 0 0 0,-2-3 0 0 0,-2 2 0 0 0,-3-1 0 0 0,2-1 0 0 0,3-3 0 0 0,4 3 0 0 0,3-1 0 0 0,0-1 0 0 0,0 1 0 0 0,-1-2 0 0 0,-1-2 0 0 0,3 2 0 0 0,2-3 0 0 0,7-1 0 0 0,1-1 0 0 0,-2 3 0 0 0,-9-1 0 0 0,-14 2 0 0 0,-14 1 0 0 0,-14-4 0 0 0,-16-1 0 0 0,-12 0 0 0 0,-13-3 0 0 0,-16 0 0 0 0,-14 0 0 0 0,-13 1 0 0 0,-11 2 0 0 0,-10-2 0 0 0,-5-1 0 0 0,-8 1 0 0 0,-8-2 0 0 0,-12 1 0 0 0,-13 0 0 0 0,-15 1 0 0 0,-11-1 0 0 0,-9 0 0 0 0,-10 1 0 0 0,-8 1 0 0 0,-10-2 0 0 0,-12 3 0 0 0,-3 2 0 0 0,-4 0 0 0 0,-1 4 0 0 0,-2 4 0 0 0,1 3 0 0 0,-1 6 0 0 0,3 3 0 0 0,5 7 0 0 0,0 1 0 0 0,8-1 0 0 0,11-2 0 0 0,12-2 0 0 0,14-6 0 0 0,16-2 0 0 0,20-4 0 0 0,14-4 0 0 0,18-2 0 0 0,19-4 0 0 0,18 0 0 0 0,18-2 0 0 0,13 1 0 0 0,13-1 0 0 0,13 0 0 0 0,13-2 0 0 0,16-1 0 0 0,14 3 0 0 0,17 2 0 0 0,20 0 0 0 0,17-2 0 0 0,18-2 0 0 0,10 1 0 0 0,9-3 0 0 0,6-1 0 0 0,-1-2 0 0 0,-4 1 0 0 0,-8-2 0 0 0,-4-2 0 0 0,-4 1 0 0 0,-4-1 0 0 0,-2-2 0 0 0,-5-1 0 0 0,-2 2 0 0 0,-2 0 0 0 0,-7 1 0 0 0,-10 4 0 0 0,-11 2 0 0 0,-16 0 0 0 0,-16 0 0 0 0,-19-2 0 0 0,-20 0 0 0 0,-17-1 0 0 0,-16 1 0 0 0,-18 1 0 0 0,-13-2 0 0 0,-13 2 0 0 0,-11-2 0 0 0,-9-2 0 0 0,-11-3 0 0 0,-13-7 0 0 0,-15-3 0 0 0,-12-2 0 0 0,-12 2 0 0 0,-11-1 0 0 0,-10 0 0 0 0,-9 1 0 0 0,-6 2 0 0 0,-7 5 0 0 0,-7 4 0 0 0,-7 5 0 0 0,-4 3 0 0 0,-4 6 0 0 0,-2 5 0 0 0,4 1 0 0 0,14 3 0 0 0,15 1 0 0 0,17 0 0 0 0,18 0 0 0 0,21 1 0 0 0,19-4 0 0 0,27-4 0 0 0,28-6 0 0 0,24 0 0 0 0,23 4 0 0 0,18 0 0 0 0,18 4 0 0 0,17 3 0 0 0,19 2 0 0 0,17 6 0 0 0,20 2 0 0 0,19 4 0 0 0,13 3 0 0 0,8 0 0 0 0,7 2 0 0 0,4-2 0 0 0,-2-2 0 0 0,-6-6 0 0 0,-17-5 0 0 0,-17-6 0 0 0,-22-7 0 0 0,-18-1 0 0 0,-18-3 0 0 0,-14-1 0 0 0,-14 0 0 0 0,-9-2 0 0 0,-7 0 0 0 0,-10 1 0 0 0,-8 1 0 0 0,-11 2 0 0 0,-12 3 0 0 0,-10 2 0 0 0,-5 1 0 0 0</inkml:trace>
</inkml:ink>
</file>

<file path=ppt/ink/ink4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12-22T17:16:33.059"/>
    </inkml:context>
    <inkml:brush xml:id="br0">
      <inkml:brushProperty name="width" value="0.2" units="cm"/>
      <inkml:brushProperty name="height" value="0.4" units="cm"/>
      <inkml:brushProperty name="color" value="#FFFC00"/>
      <inkml:brushProperty name="tip" value="rectangle"/>
      <inkml:brushProperty name="rasterOp" value="maskPen"/>
    </inkml:brush>
  </inkml:definitions>
  <inkml:trace contextRef="#ctx0" brushRef="#br0">13774 12390 16383 0 0,'12'-3'0'0'0,"12"-1"0"0"0,14 1 0 0 0,17 0 0 0 0,21 1 0 0 0,23 3 0 0 0,17 2 0 0 0,19 4 0 0 0,18 2 0 0 0,18 4 0 0 0,15 2 0 0 0,4 1 0 0 0,2 2 0 0 0,-2-4 0 0 0,-8-3 0 0 0,-8-3 0 0 0,-14-10 0 0 0,-14-4 0 0 0,-11-1 0 0 0,-11 1 0 0 0,-6 1 0 0 0,-7 2 0 0 0,-6 3 0 0 0,-11 6 0 0 0,-12 1 0 0 0,-14 3 0 0 0,-15 2 0 0 0,-18 2 0 0 0,-17-1 0 0 0,-17 0 0 0 0,-16-2 0 0 0,-9-4 0 0 0,-11-5 0 0 0,-5-3 0 0 0,-6-1 0 0 0,-9-4 0 0 0,-8 0 0 0 0,-14 0 0 0 0,-14-1 0 0 0,-15-2 0 0 0,-16-1 0 0 0,-13 0 0 0 0,-7 1 0 0 0,-5 2 0 0 0,-7-1 0 0 0,-3 2 0 0 0,-1-2 0 0 0,-9 0 0 0 0,-7 3 0 0 0,-4 1 0 0 0,0 4 0 0 0,3 3 0 0 0,4 0 0 0 0,4 3 0 0 0,7 1 0 0 0,7-2 0 0 0,14-1 0 0 0,11 1 0 0 0,17 1 0 0 0,12 1 0 0 0,12 0 0 0 0,12-1 0 0 0,10-2 0 0 0,7-2 0 0 0,22 0 0 0 0,23-5 0 0 0,23-1 0 0 0,15 0 0 0 0,15 4 0 0 0,15 2 0 0 0,16 3 0 0 0,16 3 0 0 0,17 5 0 0 0,16-2 0 0 0,17 2 0 0 0,20 0 0 0 0,18-1 0 0 0,9-3 0 0 0,4-3 0 0 0,0-2 0 0 0,-3 0 0 0 0,-7 0 0 0 0,-11 0 0 0 0,-10-2 0 0 0,-6 3 0 0 0,-3-1 0 0 0,1-2 0 0 0,-3-6 0 0 0,-6-2 0 0 0,-3 1 0 0 0,-7 0 0 0 0,-9 2 0 0 0,-8-2 0 0 0,-8 0 0 0 0,-10 1 0 0 0,-13 1 0 0 0,-14 1 0 0 0,-11 3 0 0 0,-11 3 0 0 0,-11-1 0 0 0,-9 3 0 0 0,-5 1 0 0 0,-7 1 0 0 0,-11 2 0 0 0,-12 0 0 0 0,-8-2 0 0 0,-6-2 0 0 0,-8 1 0 0 0,-8 1 0 0 0,-11 3 0 0 0,-16 0 0 0 0,-12 0 0 0 0,-12-1 0 0 0,-16-3 0 0 0,-10-2 0 0 0,-6-2 0 0 0,-6-4 0 0 0,-3-6 0 0 0,-4-4 0 0 0,-4-2 0 0 0,-6 0 0 0 0,-3-1 0 0 0,3 0 0 0 0,6-1 0 0 0,6-1 0 0 0,5 0 0 0 0,4-1 0 0 0,4 0 0 0 0,6-1 0 0 0,6-2 0 0 0,10 2 0 0 0,10 1 0 0 0,7 4 0 0 0,10 0 0 0 0,14 1 0 0 0,11-2 0 0 0,12 0 0 0 0,19 1 0 0 0,18 1 0 0 0,16 1 0 0 0,14 1 0 0 0,13 2 0 0 0,14 1 0 0 0,10 3 0 0 0,8 2 0 0 0,12 1 0 0 0,13 4 0 0 0,15 1 0 0 0,14 0 0 0 0,10 0 0 0 0,5 1 0 0 0,0 0 0 0 0,5 3 0 0 0,-1-1 0 0 0,0 2 0 0 0,-5-1 0 0 0,-10 1 0 0 0,-11-1 0 0 0,-12 2 0 0 0,-8-2 0 0 0,-7-2 0 0 0,-9-2 0 0 0,-7-1 0 0 0,-10-2 0 0 0,-8-1 0 0 0,-12 0 0 0 0,-9 0 0 0 0,-9-1 0 0 0,-22 1 0 0 0,-16 0 0 0 0,-9 0 0 0 0,-13-1 0 0 0,-6 1 0 0 0,-8-2 0 0 0,-8-2 0 0 0,-10-3 0 0 0,-13 0 0 0 0,-12-1 0 0 0,-6-1 0 0 0,-2 3 0 0 0,-1-1 0 0 0,1 0 0 0 0,2-1 0 0 0,1-2 0 0 0,4 0 0 0 0,2-1 0 0 0,0-1 0 0 0,0 4 0 0 0,2 4 0 0 0,6 2 0 0 0,9-2 0 0 0,11-2 0 0 0,8-1 0 0 0,9 1 0 0 0,14 2 0 0 0,14 1 0 0 0,11 4 0 0 0,8 2 0 0 0,9-2 0 0 0,3-2 0 0 0,7 0 0 0 0,7 0 0 0 0,7 0 0 0 0,7 0 0 0 0,9-3 0 0 0,7 0 0 0 0,7 3 0 0 0,2 5 0 0 0,-3 1 0 0 0,-5 4 0 0 0,-8 2 0 0 0,-8 2 0 0 0,-10 0 0 0 0,-9 0 0 0 0,-4 0 0 0 0,-7-1 0 0 0</inkml:trace>
</inkml:ink>
</file>

<file path=ppt/ink/ink4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12-22T17:16:33.060"/>
    </inkml:context>
    <inkml:brush xml:id="br0">
      <inkml:brushProperty name="width" value="0.2" units="cm"/>
      <inkml:brushProperty name="height" value="0.4" units="cm"/>
      <inkml:brushProperty name="color" value="#00F900"/>
      <inkml:brushProperty name="tip" value="rectangle"/>
      <inkml:brushProperty name="rasterOp" value="maskPen"/>
    </inkml:brush>
  </inkml:definitions>
  <inkml:trace contextRef="#ctx0" brushRef="#br0">29806 14257 16383 0 0,'-3'-9'0'0'0,"-15"-11"0"0"0,-14-6 0 0 0,-7-3 0 0 0,-5-4 0 0 0,-5 2 0 0 0,-4 3 0 0 0,-6 3 0 0 0,-4 0 0 0 0,-6 2 0 0 0,-9 1 0 0 0,-8 2 0 0 0,-7 2 0 0 0,-8 0 0 0 0,-10 1 0 0 0,-10 0 0 0 0,-10 3 0 0 0,-14 1 0 0 0,-13 3 0 0 0,-10 0 0 0 0,-9 2 0 0 0,-1 5 0 0 0,5 3 0 0 0,7 1 0 0 0,18 1 0 0 0,20 3 0 0 0,23 1 0 0 0,29 1 0 0 0,24 4 0 0 0,34 2 0 0 0,30 2 0 0 0,31 1 0 0 0,38 1 0 0 0,36 0 0 0 0,39 1 0 0 0,46 0 0 0 0,43-1 0 0 0,44 0 0 0 0,39 1 0 0 0,26-4 0 0 0,12-7 0 0 0,-2-7 0 0 0,-18-7 0 0 0,-30-7 0 0 0,-36-8 0 0 0,-46-6 0 0 0,-50-1 0 0 0,-52 2 0 0 0,-48 2 0 0 0,-40 6 0 0 0,-35 5 0 0 0,-30 6 0 0 0,-25 4 0 0 0,-23 3 0 0 0,-26 1 0 0 0,-23 1 0 0 0,-23 0 0 0 0,-22-3 0 0 0,-19-1 0 0 0,-16-3 0 0 0,-9 0 0 0 0,-7-3 0 0 0,-5-2 0 0 0,-6-2 0 0 0,-8-5 0 0 0,-11-5 0 0 0,-16-1 0 0 0,-19-1 0 0 0,-23 6 0 0 0,-19 7 0 0 0,-6 10 0 0 0,3 11 0 0 0,18 6 0 0 0,30 7 0 0 0,36 5 0 0 0,38 7 0 0 0,41 4 0 0 0,44-3 0 0 0,40-3 0 0 0,37-5 0 0 0,34-7 0 0 0,32-3 0 0 0,29-6 0 0 0,32-1 0 0 0,27 1 0 0 0,25 4 0 0 0,28 2 0 0 0,32 4 0 0 0,25 2 0 0 0,27-3 0 0 0,23-3 0 0 0,17-3 0 0 0,14-5 0 0 0,5-1 0 0 0,-13 2 0 0 0,-19 1 0 0 0,-27 2 0 0 0,-37-1 0 0 0,-34-3 0 0 0,-39-8 0 0 0,-38-8 0 0 0,-36-5 0 0 0,-38-4 0 0 0,-39-2 0 0 0,-41-3 0 0 0,-40-2 0 0 0,-35 4 0 0 0,-32 1 0 0 0,-34 5 0 0 0,-25 4 0 0 0,-16 1 0 0 0,-5 1 0 0 0,-4 3 0 0 0,-2 1 0 0 0,4 1 0 0 0,2 2 0 0 0,1 0 0 0 0,2 0 0 0 0,1 4 0 0 0,3 0 0 0 0,2-3 0 0 0,9-5 0 0 0,10-4 0 0 0,5-4 0 0 0,9-6 0 0 0,9-2 0 0 0,9-4 0 0 0,7-4 0 0 0,0 0 0 0 0,3 0 0 0 0,4 0 0 0 0,4 4 0 0 0,3 1 0 0 0,2 6 0 0 0,4 5 0 0 0,5 8 0 0 0,9 5 0 0 0,8 4 0 0 0,9 5 0 0 0,9 4 0 0 0,10 1 0 0 0,14 5 0 0 0,14 2 0 0 0,16 0 0 0 0,16-1 0 0 0,15-1 0 0 0,16-1 0 0 0,11-4 0 0 0,13-2 0 0 0,8 1 0 0 0,11 3 0 0 0,7 1 0 0 0,9 2 0 0 0,13 2 0 0 0,17 3 0 0 0,21 4 0 0 0,16 2 0 0 0,12-1 0 0 0,14 1 0 0 0,14-3 0 0 0,15-3 0 0 0,17-6 0 0 0,16-6 0 0 0,21-8 0 0 0,18-8 0 0 0,20-9 0 0 0,12-5 0 0 0,2-7 0 0 0,-1-3 0 0 0,-11-5 0 0 0,-19-1 0 0 0,-24-2 0 0 0,-27 0 0 0 0,-29 3 0 0 0,-29 4 0 0 0,-25 3 0 0 0,-27 7 0 0 0,-24 6 0 0 0,-26 5 0 0 0,-24 4 0 0 0,-24 5 0 0 0,-20 2 0 0 0,-19 4 0 0 0,-22 3 0 0 0,-18-1 0 0 0,-16 2 0 0 0,-17-2 0 0 0,-13-2 0 0 0,-8 0 0 0 0,-10-1 0 0 0,-6-2 0 0 0,-3 1 0 0 0,2 3 0 0 0,-1 2 0 0 0,1 0 0 0 0,2 0 0 0 0,6-1 0 0 0,8-2 0 0 0,6-3 0 0 0,5-2 0 0 0,1 1 0 0 0,3 0 0 0 0,-1-3 0 0 0,-2-3 0 0 0,-4 0 0 0 0,-7 3 0 0 0,-2 1 0 0 0,0-2 0 0 0,6 1 0 0 0,4 1 0 0 0,4-1 0 0 0,11 1 0 0 0,12-1 0 0 0,13 0 0 0 0,15-4 0 0 0,15 0 0 0 0,17-1 0 0 0,13 1 0 0 0,17 1 0 0 0,15 0 0 0 0,14 2 0 0 0,11-1 0 0 0,9 1 0 0 0,7 0 0 0 0,14 0 0 0 0,15 1 0 0 0,16-1 0 0 0,22 6 0 0 0,20 4 0 0 0,17 7 0 0 0,14 7 0 0 0,17 4 0 0 0,10 3 0 0 0,5 0 0 0 0,-1-3 0 0 0,-5 0 0 0 0,-8-5 0 0 0,-11-4 0 0 0,-17-4 0 0 0,-17-6 0 0 0,-19-3 0 0 0,-19-4 0 0 0,-21-4 0 0 0,-20-3 0 0 0,-14 1 0 0 0,-16-3 0 0 0,-14 0 0 0 0,-13 1 0 0 0,-14-1 0 0 0,-11 1 0 0 0,-17-2 0 0 0,-17 0 0 0 0,-21 3 0 0 0,-20 1 0 0 0,-18 1 0 0 0,-11 2 0 0 0,-7-3 0 0 0,-5 1 0 0 0,-3-1 0 0 0,-2 1 0 0 0,0-1 0 0 0,6-1 0 0 0,8 1 0 0 0,8 1 0 0 0,7 3 0 0 0,4 3 0 0 0,3 0 0 0 0,4-3 0 0 0,8-1 0 0 0,4-2 0 0 0,6-2 0 0 0,5 0 0 0 0,0 0 0 0 0,0-2 0 0 0,-3 1 0 0 0,1-2 0 0 0,2-2 0 0 0,5 0 0 0 0,6-1 0 0 0,3 2 0 0 0,-1 1 0 0 0,0 4 0 0 0,1 1 0 0 0,0 2 0 0 0,2 0 0 0 0,5 1 0 0 0,6 1 0 0 0,3-1 0 0 0,6-2 0 0 0,4-2 0 0 0,3 1 0 0 0,-3 0 0 0 0,0 1 0 0 0,0 1 0 0 0,0 0 0 0 0,-2 1 0 0 0,-1 0 0 0 0,1 0 0 0 0,0 0 0 0 0,2 0 0 0 0,1 0 0 0 0,0 0 0 0 0,0 0 0 0 0,1 0 0 0 0,3 0 0 0 0,-2 0 0 0 0,-4 0 0 0 0,-2 0 0 0 0,-2 0 0 0 0,-1 0 0 0 0,1 3 0 0 0,2 1 0 0 0,2 0 0 0 0,1-1 0 0 0,4-4 0 0 0,5-2 0 0 0,0 3 0 0 0,0 1 0 0 0,-2 1 0 0 0,-2-1 0 0 0,-1 1 0 0 0,-4-1 0 0 0,-1 2 0 0 0,-1 1 0 0 0,-3 0 0 0 0,1-1 0 0 0,0-4 0 0 0,5-1 0 0 0,5-1 0 0 0,5 0 0 0 0,4-2 0 0 0,2-1 0 0 0,-1 2 0 0 0,-1 0 0 0 0,-1 2 0 0 0,-4 1 0 0 0,-3 0 0 0 0,-2 1 0 0 0,1 0 0 0 0,2-2 0 0 0,1-2 0 0 0,-1 0 0 0 0,1 2 0 0 0,0 0 0 0 0,4 0 0 0 0,3-1 0 0 0,2-4 0 0 0,1-4 0 0 0,4 1 0 0 0,1 1 0 0 0,-1 0 0 0 0,3 1 0 0 0,-1 0 0 0 0,-1 0 0 0 0,-1 2 0 0 0,-2 2 0 0 0,2 2 0 0 0,0 0 0 0 0,3 2 0 0 0,-1 0 0 0 0,3 1 0 0 0,-5-4 0 0 0,1 0 0 0 0,0-1 0 0 0,-2 1 0 0 0,2 1 0 0 0,0 1 0 0 0,2 0 0 0 0,0-2 0 0 0,2-1 0 0 0,-2 1 0 0 0,2 0 0 0 0,2 1 0 0 0,2 1 0 0 0,2 0 0 0 0,1 1 0 0 0,0 0 0 0 0,2 0 0 0 0,-1-3 0 0 0,0 0 0 0 0,-2 2 0 0 0,-5 2 0 0 0,0 1 0 0 0,0-1 0 0 0,-1-2 0 0 0,-2-2 0 0 0,-3 0 0 0 0,-1 3 0 0 0,1-1 0 0 0,0 0 0 0 0,-1-1 0 0 0,0 1 0 0 0,-2 0 0 0 0,0 1 0 0 0,-1-1 0 0 0,3 1 0 0 0,1 0 0 0 0,-1-3 0 0 0,0 0 0 0 0,1-1 0 0 0,1 1 0 0 0,-1 1 0 0 0,-1 1 0 0 0,-1 0 0 0 0,-1 1 0 0 0,0 0 0 0 0,-1-3 0 0 0,0-1 0 0 0,-4 1 0 0 0,-3 0 0 0 0,-4 1 0 0 0,-2 1 0 0 0,-3 0 0 0 0,-1 1 0 0 0,-1 0 0 0 0,0 3 0 0 0,0-2 0 0 0,1-1 0 0 0,2-1 0 0 0,1 0 0 0 0,0 1 0 0 0,3-1 0 0 0,-3 1 0 0 0,-2 0 0 0 0,-1 2 0 0 0,-1-1 0 0 0,-3-1 0 0 0,-1 2 0 0 0,1 1 0 0 0,-3 0 0 0 0,4 0 0 0 0,1-2 0 0 0,2 0 0 0 0,3 3 0 0 0,8-3 0 0 0,3-1 0 0 0,4-1 0 0 0,-2 0 0 0 0,-1 0 0 0 0,-3 0 0 0 0,0 1 0 0 0,0 0 0 0 0,-2-1 0 0 0,0 1 0 0 0,-1 0 0 0 0,1-3 0 0 0,-3 0 0 0 0,-1-1 0 0 0,1 1 0 0 0,2 1 0 0 0,5 1 0 0 0,3 0 0 0 0,2 1 0 0 0,0 0 0 0 0,3 3 0 0 0,1-2 0 0 0,-2-1 0 0 0,0-1 0 0 0,-2 0 0 0 0,0 1 0 0 0,-2-1 0 0 0,0-2 0 0 0,-3-1 0 0 0,-1 0 0 0 0,0 1 0 0 0,1 1 0 0 0,0 3 0 0 0,4 3 0 0 0,2-4 0 0 0,1-1 0 0 0,1 3 0 0 0,1-3 0 0 0,2 3 0 0 0,3 0 0 0 0,2 0 0 0 0,1 0 0 0 0,2-1 0 0 0,1 0 0 0 0,0 0 0 0 0,1-1 0 0 0,-1 0 0 0 0,0 0 0 0 0,1 0 0 0 0,-1 0 0 0 0,0 0 0 0 0,0 0 0 0 0,0 2 0 0 0,0 2 0 0 0,2 3 0 0 0,5 3 0 0 0,1-1 0 0 0,-2-1 0 0 0,2 1 0 0 0,2 1 0 0 0,0 0 0 0 0,-3 0 0 0 0,-2-1 0 0 0,-1-2 0 0 0,0 1 0 0 0,1-2 0 0 0,-2-1 0 0 0,0-2 0 0 0,-2-1 0 0 0,0 2 0 0 0,0-3 0 0 0,1 2 0 0 0,5-3 0 0 0,0-2 0 0 0,3 4 0 0 0,4 0 0 0 0,4 3 0 0 0,1 1 0 0 0</inkml:trace>
</inkml:ink>
</file>

<file path=ppt/ink/ink4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12-22T17:16:33.061"/>
    </inkml:context>
    <inkml:brush xml:id="br0">
      <inkml:brushProperty name="width" value="0.2" units="cm"/>
      <inkml:brushProperty name="height" value="0.4" units="cm"/>
      <inkml:brushProperty name="color" value="#00F900"/>
      <inkml:brushProperty name="tip" value="rectangle"/>
      <inkml:brushProperty name="rasterOp" value="maskPen"/>
    </inkml:brush>
  </inkml:definitions>
  <inkml:trace contextRef="#ctx0" brushRef="#br0">19722 10253 16383 0 0,'-12'3'0'0'0,"-17"3"0"0"0,-11 2 0 0 0,-1-2 0 0 0,1 0 0 0 0,3 0 0 0 0,7 0 0 0 0,4 1 0 0 0,4 0 0 0 0,1-1 0 0 0,-4 1 0 0 0,-1-1 0 0 0,-7 2 0 0 0,-2-1 0 0 0,-5-1 0 0 0,-1-2 0 0 0,-2 2 0 0 0,0-4 0 0 0,-1 1 0 0 0,1 0 0 0 0,5 0 0 0 0,3-1 0 0 0,2-1 0 0 0,4-1 0 0 0,3 1 0 0 0,1-1 0 0 0,1 0 0 0 0,0-1 0 0 0,0 1 0 0 0,-1 0 0 0 0,-3 3 0 0 0,-1 1 0 0 0,-3 0 0 0 0,2-2 0 0 0,0 1 0 0 0,3-2 0 0 0,-4 3 0 0 0,1 0 0 0 0,0-1 0 0 0,-1 0 0 0 0,-1-1 0 0 0,0-1 0 0 0,-2-3 0 0 0,-3 1 0 0 0,-1 1 0 0 0,0 1 0 0 0,4 0 0 0 0,1-1 0 0 0,1 1 0 0 0,1-1 0 0 0,-2 0 0 0 0,0 0 0 0 0,-3 3 0 0 0,-4 1 0 0 0,-5 0 0 0 0,-2 2 0 0 0,-3 0 0 0 0,2 1 0 0 0,0 1 0 0 0,0-2 0 0 0,1-2 0 0 0,4-1 0 0 0,1-2 0 0 0,0 0 0 0 0,6-1 0 0 0,2 0 0 0 0,-1-1 0 0 0,-1 1 0 0 0,1 0 0 0 0,-1 0 0 0 0,1-1 0 0 0,-3 4 0 0 0,0 1 0 0 0,-3 0 0 0 0,-3-1 0 0 0,-3-1 0 0 0,-1 2 0 0 0,0 1 0 0 0,1-1 0 0 0,-1 2 0 0 0,-1-1 0 0 0,2 3 0 0 0,4 0 0 0 0,2 0 0 0 0,4 0 0 0 0,1-1 0 0 0,1-3 0 0 0,2-1 0 0 0,-4-2 0 0 0,0-1 0 0 0,-1 0 0 0 0,-1 0 0 0 0,-4 0 0 0 0,-3 2 0 0 0,1 2 0 0 0,-1-1 0 0 0,2 0 0 0 0,2-4 0 0 0,0-1 0 0 0,1-1 0 0 0,4 0 0 0 0,4 1 0 0 0,-2 1 0 0 0,2 0 0 0 0,1-3 0 0 0,0-2 0 0 0,-3-2 0 0 0,-5 1 0 0 0,-1 3 0 0 0,-2-3 0 0 0,0-1 0 0 0,-1-1 0 0 0,-2-1 0 0 0,-1 2 0 0 0,-3 1 0 0 0,0-1 0 0 0,2-1 0 0 0,0 0 0 0 0,3-1 0 0 0,3-2 0 0 0,3 1 0 0 0,0 3 0 0 0,0 3 0 0 0,1-2 0 0 0,-2 2 0 0 0,1 0 0 0 0,0 3 0 0 0,-1 0 0 0 0,-3 4 0 0 0,0 2 0 0 0,2-1 0 0 0,-1 4 0 0 0,1-4 0 0 0,-2-2 0 0 0,1-1 0 0 0,2 0 0 0 0,2-1 0 0 0,5 1 0 0 0,1-1 0 0 0,1 1 0 0 0,3-1 0 0 0,0 1 0 0 0,-1 0 0 0 0,2 0 0 0 0,0 0 0 0 0,-2 0 0 0 0,-2 0 0 0 0,-1 3 0 0 0,-1 1 0 0 0,3-3 0 0 0,-1-2 0 0 0,1-1 0 0 0,1 3 0 0 0,1 2 0 0 0,-2-3 0 0 0,0-2 0 0 0,-2 0 0 0 0,-1 0 0 0 0,2 1 0 0 0,4 0 0 0 0,0 0 0 0 0,2 1 0 0 0,3 0 0 0 0,-2 0 0 0 0,2-3 0 0 0,0-1 0 0 0,2 1 0 0 0,1-3 0 0 0,1 0 0 0 0,1 1 0 0 0,0 1 0 0 0,0 2 0 0 0,0 1 0 0 0,1 0 0 0 0,-1 1 0 0 0,0 0 0 0 0,0 3 0 0 0,0 1 0 0 0,0 0 0 0 0,0 2 0 0 0,-1 0 0 0 0,1 2 0 0 0,0 0 0 0 0,0-2 0 0 0,3 1 0 0 0,7 0 0 0 0,7 1 0 0 0,7 2 0 0 0,2 11 0 0 0,-1 2 0 0 0</inkml:trace>
</inkml:ink>
</file>

<file path=ppt/ink/ink4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12-22T17:16:33.062"/>
    </inkml:context>
    <inkml:brush xml:id="br0">
      <inkml:brushProperty name="width" value="0.2" units="cm"/>
      <inkml:brushProperty name="height" value="0.4" units="cm"/>
      <inkml:brushProperty name="color" value="#0069AF"/>
      <inkml:brushProperty name="tip" value="rectangle"/>
      <inkml:brushProperty name="rasterOp" value="maskPen"/>
    </inkml:brush>
  </inkml:definitions>
  <inkml:trace contextRef="#ctx0" brushRef="#br0">13785 13602 16383 0 0,'3'-9'0'0'0,"12"7"0"0"0,10 2 0 0 0,3 5 0 0 0,3 5 0 0 0,-1-1 0 0 0,1 3 0 0 0,-3-2 0 0 0,0-2 0 0 0,-2 0 0 0 0,-3-1 0 0 0,2-1 0 0 0,-2-3 0 0 0,-1-1 0 0 0,1-1 0 0 0,-1 2 0 0 0,0 1 0 0 0,1-1 0 0 0,0 3 0 0 0,2-1 0 0 0,2 3 0 0 0,3-1 0 0 0,1 2 0 0 0,2 2 0 0 0,1 2 0 0 0,3-1 0 0 0,2 0 0 0 0,-1 2 0 0 0,3-3 0 0 0,-1 1 0 0 0,2-3 0 0 0,3-2 0 0 0,2-2 0 0 0,2-3 0 0 0,1-1 0 0 0,1-4 0 0 0,-2-1 0 0 0,-4 3 0 0 0,-4 1 0 0 0,-6 2 0 0 0,-6-1 0 0 0,-2 3 0 0 0,-2-2 0 0 0,-4-2 0 0 0,-1 0 0 0 0,-2-1 0 0 0,2 1 0 0 0,1-1 0 0 0,2 1 0 0 0,3-1 0 0 0,3 4 0 0 0,3-2 0 0 0,1 2 0 0 0,1-3 0 0 0,0-1 0 0 0,1-1 0 0 0,0 1 0 0 0,2 0 0 0 0,2 0 0 0 0,2 0 0 0 0,0 1 0 0 0,2 0 0 0 0,-1 0 0 0 0,1 0 0 0 0,0 3 0 0 0,-2 1 0 0 0,0-1 0 0 0,0 0 0 0 0,-2 0 0 0 0,1-2 0 0 0,3 0 0 0 0,3-1 0 0 0,4 0 0 0 0,7 0 0 0 0,4 0 0 0 0,1-3 0 0 0,1-4 0 0 0,-1-1 0 0 0,-5 1 0 0 0,-4-1 0 0 0,-5 1 0 0 0,-2 1 0 0 0,-1 2 0 0 0,2-1 0 0 0,1 0 0 0 0,-2-2 0 0 0,1 0 0 0 0,0 2 0 0 0,1-2 0 0 0,1 1 0 0 0,1-2 0 0 0,-2 0 0 0 0,-1 0 0 0 0,-2 0 0 0 0,0-1 0 0 0,0 0 0 0 0,-1 3 0 0 0,-2 2 0 0 0,0 1 0 0 0,2 2 0 0 0,-1 1 0 0 0,4 0 0 0 0,0 0 0 0 0,3 1 0 0 0,3-1 0 0 0,0-3 0 0 0,-3 0 0 0 0,-1-4 0 0 0,-1 0 0 0 0,1 2 0 0 0,1-3 0 0 0,-3 2 0 0 0,-3-2 0 0 0,-1 0 0 0 0,-1 2 0 0 0,-3 5 0 0 0,-1 2 0 0 0,-2 2 0 0 0,1-1 0 0 0,1 0 0 0 0,3 0 0 0 0,2-4 0 0 0,4-1 0 0 0,1-1 0 0 0,-1 1 0 0 0,-2 1 0 0 0,-4 1 0 0 0,-3 0 0 0 0,-2 1 0 0 0,-4 2 0 0 0,-1 2 0 0 0,-4 0 0 0 0,-1 2 0 0 0,2 0 0 0 0,4 2 0 0 0,3 0 0 0 0,1 1 0 0 0,4 2 0 0 0,-1-1 0 0 0,1-2 0 0 0,-2-2 0 0 0,-1 0 0 0 0,-2-3 0 0 0,3-3 0 0 0,1 0 0 0 0,-2-2 0 0 0,0 1 0 0 0,-1 0 0 0 0,-3-3 0 0 0,-6 0 0 0 0,-3 0 0 0 0,-3 1 0 0 0,-3 4 0 0 0,0 1 0 0 0,1 4 0 0 0,-2 1 0 0 0</inkml:trace>
</inkml:ink>
</file>

<file path=ppt/ink/ink4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12-22T17:16:33.063"/>
    </inkml:context>
    <inkml:brush xml:id="br0">
      <inkml:brushProperty name="width" value="0.2" units="cm"/>
      <inkml:brushProperty name="height" value="0.4" units="cm"/>
      <inkml:brushProperty name="color" value="#0069AF"/>
      <inkml:brushProperty name="tip" value="rectangle"/>
      <inkml:brushProperty name="rasterOp" value="maskPen"/>
    </inkml:brush>
  </inkml:definitions>
  <inkml:trace contextRef="#ctx0" brushRef="#br0">13692 10134 16383 0 0,'0'-9'0'0'0,"12"0"0"0"0,9 2 0 0 0,10 5 0 0 0,9 2 0 0 0,5 2 0 0 0,5 3 0 0 0,8 1 0 0 0,5 2 0 0 0,8 0 0 0 0,2-1 0 0 0,1 0 0 0 0,-1 0 0 0 0,-4-2 0 0 0,-5-1 0 0 0,-4-5 0 0 0,-2 1 0 0 0,-1-2 0 0 0,-2-1 0 0 0,1-1 0 0 0,-2 2 0 0 0,0 0 0 0 0,-3 1 0 0 0,2 0 0 0 0,-3 1 0 0 0,0 0 0 0 0,-4 0 0 0 0,-4 0 0 0 0,1 4 0 0 0,0-1 0 0 0,0 1 0 0 0,0-1 0 0 0,3-4 0 0 0,4 2 0 0 0,3 0 0 0 0,4 0 0 0 0,3 0 0 0 0,4-4 0 0 0,-1 0 0 0 0,-2 0 0 0 0,-2 0 0 0 0,-4 1 0 0 0,-4 0 0 0 0,-3 2 0 0 0,-3-1 0 0 0,2 1 0 0 0,1 0 0 0 0,0 0 0 0 0,-1 1 0 0 0,0-1 0 0 0,2 0 0 0 0,-2 3 0 0 0,-1 1 0 0 0,-2-1 0 0 0,1 0 0 0 0,0-1 0 0 0,-1 0 0 0 0,1-2 0 0 0,-2 1 0 0 0,4-1 0 0 0,2 2 0 0 0,2 2 0 0 0,4-3 0 0 0,3-2 0 0 0,5-1 0 0 0,2 0 0 0 0,3-2 0 0 0,0-1 0 0 0,1 1 0 0 0,0-3 0 0 0,0 1 0 0 0,0-2 0 0 0,0 1 0 0 0,2 1 0 0 0,1 2 0 0 0,3-2 0 0 0,3 1 0 0 0,0 1 0 0 0,-2-2 0 0 0,-5 0 0 0 0,-2 2 0 0 0,-6 0 0 0 0,-3 2 0 0 0,-2-2 0 0 0,-1 0 0 0 0,-4 3 0 0 0,-3 2 0 0 0,-4 1 0 0 0,-1 0 0 0 0,-3-1 0 0 0,-2 0 0 0 0,-3 0 0 0 0,-1 0 0 0 0,-1-1 0 0 0,-1 3 0 0 0,-3 1 0 0 0,-4-1 0 0 0,-1 0 0 0 0,-2-1 0 0 0,-2 2 0 0 0,-2 1 0 0 0,-1-1 0 0 0,-1 2 0 0 0,-1 2 0 0 0,-4 1 0 0 0</inkml:trace>
</inkml:ink>
</file>

<file path=ppt/ink/ink4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12-23T08:21:11.222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21322 4577 16383 0 0,'-3'0'0'0'0,"-4"0"0"0"0,-3 0 0 0 0,-2 0 0 0 0,-2 0 0 0 0,1 0 0 0 0,-1 0 0 0 0,0 0 0 0 0,-1 0 0 0 0,0 0 0 0 0,-1 0 0 0 0,2 0 0 0 0,0 0 0 0 0,1 0 0 0 0,0 0 0 0 0,-2 0 0 0 0,0 0 0 0 0,0 0 0 0 0,1 0 0 0 0,0 0 0 0 0,1 0 0 0 0,0 0 0 0 0,-2 0 0 0 0,0 0 0 0 0,0 0 0 0 0,1 0 0 0 0,0 0 0 0 0,1 0 0 0 0,0 0 0 0 0,0 0 0 0 0,-1 0 0 0 0,-1 0 0 0 0,0 0 0 0 0,0 0 0 0 0,2 0 0 0 0,-1 0 0 0 0,1 0 0 0 0,-1 0 0 0 0,-1 0 0 0 0,0 0 0 0 0,0 0 0 0 0,1 0 0 0 0,1 0 0 0 0,0 0 0 0 0,-1 0 0 0 0,-1 0 0 0 0,0 0 0 0 0,0 0 0 0 0,1 0 0 0 0,-3 0 0 0 0,-2 0 0 0 0,2 0 0 0 0,0 0 0 0 0,2 0 0 0 0,0 0 0 0 0,2 0 0 0 0,0 0 0 0 0,-1 0 0 0 0,-1 0 0 0 0,0 0 0 0 0,1 0 0 0 0,0 0 0 0 0,1 0 0 0 0,0 0 0 0 0,-1 0 0 0 0,-2 0 0 0 0,2 0 0 0 0,-1 0 0 0 0,1 0 0 0 0,1 0 0 0 0,0 0 0 0 0,-1 0 0 0 0,-2 0 0 0 0,1 0 0 0 0,1 0 0 0 0,0 0 0 0 0,1 0 0 0 0,0 0 0 0 0,-1 0 0 0 0,-2 0 0 0 0,4 2 0 0 0,0 1 0 0 0,1 0 0 0 0,0-1 0 0 0,-1 0 0 0 0,1-2 0 0 0,-1 1 0 0 0,-2-1 0 0 0,-1 0 0 0 0,0 2 0 0 0,0 1 0 0 0,1-1 0 0 0,1 1 0 0 0,0-2 0 0 0,-2 0 0 0 0,0-1 0 0 0,0 1 0 0 0,1-1 0 0 0,0-1 0 0 0,3 3 0 0 0,1 1 0 0 0,2 0 0 0 0</inkml:trace>
</inkml:ink>
</file>

<file path=ppt/ink/ink4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12-23T08:21:11.223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9910 4617 16383 0 0,'0'0'0'0'0</inkml:trace>
</inkml:ink>
</file>

<file path=ppt/ink/ink4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12-23T08:21:11.224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19933 4366 16383 0 0,'-2'0'0'0'0,"-3"2"0"0"0,-2 1 0 0 0,-1 1 0 0 0,0 3 0 0 0,-2 0 0 0 0,2 1 0 0 0,-3 3 0 0 0,-1 0 0 0 0,1 0 0 0 0,1 1 0 0 0,-1-3 0 0 0,3 0 0 0 0,-3 1 0 0 0,-3-2 0 0 0,-1 0 0 0 0,1 1 0 0 0,2-1 0 0 0,0-3 0 0 0,3 3 0 0 0,0 2 0 0 0,0 0 0 0 0,-1-1 0 0 0,-3 1 0 0 0,-1-1 0 0 0,0-3 0 0 0,-1 0 0 0 0,1 0 0 0 0,1-3 0 0 0,0 0 0 0 0,-2-2 0 0 0,0 0 0 0 0,2 1 0 0 0,1 0 0 0 0,1 3 0 0 0,0 4 0 0 0,0 0 0 0 0,1 2 0 0 0,3 0 0 0 0,5-1 0 0 0,6-3 0 0 0,8-2 0 0 0,3-3 0 0 0,1 0 0 0 0,0-2 0 0 0,0 0 0 0 0,-1-1 0 0 0,3 1 0 0 0,1 1 0 0 0,-1 2 0 0 0,1-1 0 0 0,1 0 0 0 0,-1 0 0 0 0,2-1 0 0 0,-2-1 0 0 0,-2 1 0 0 0,1-1 0 0 0,-1 0 0 0 0,-1-1 0 0 0,-1 1 0 0 0,-1 0 0 0 0,-1 0 0 0 0,-1 0 0 0 0,0 0 0 0 0,3 0 0 0 0,0 0 0 0 0,0 0 0 0 0,-1 0 0 0 0,0 0 0 0 0,-1 0 0 0 0,0 0 0 0 0,1 0 0 0 0,2 0 0 0 0,-1 0 0 0 0,-3 2 0 0 0,-1 1 0 0 0,0 2 0 0 0,-1 0 0 0 0,-1 1 0 0 0,0 0 0 0 0,-2-1 0 0 0</inkml:trace>
</inkml:ink>
</file>

<file path=ppt/ink/ink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12-22T17:16:33.022"/>
    </inkml:context>
    <inkml:brush xml:id="br0">
      <inkml:brushProperty name="width" value="0.3" units="cm"/>
      <inkml:brushProperty name="height" value="0.6" units="cm"/>
      <inkml:brushProperty name="color" value="#0069AF"/>
      <inkml:brushProperty name="tip" value="rectangle"/>
      <inkml:brushProperty name="rasterOp" value="maskPen"/>
    </inkml:brush>
  </inkml:definitions>
  <inkml:trace contextRef="#ctx0" brushRef="#br0">18205 8374 16383 0 0,'-11'11'0'0'0,"11"3"0"0"0,9 0 0 0 0,12-6 0 0 0,14-4 0 0 0,8-2 0 0 0,7-2 0 0 0,10-1 0 0 0,4-1 0 0 0,6 4 0 0 0,3 1 0 0 0,1 0 0 0 0,1 2 0 0 0,-5 0 0 0 0,-2 2 0 0 0,-3 0 0 0 0,-5-4 0 0 0,-3-2 0 0 0,-4 0 0 0 0,-3-1 0 0 0,-2 1 0 0 0,1 1 0 0 0,4-1 0 0 0,4 1 0 0 0,2-1 0 0 0,-1 0 0 0 0,-2-1 0 0 0,-2 3 0 0 0,-3 0 0 0 0,-4 1 0 0 0,-5-2 0 0 0,-4-2 0 0 0,-1-3 0 0 0,2 0 0 0 0,5 1 0 0 0,2-3 0 0 0,3 3 0 0 0,0 1 0 0 0,0 2 0 0 0,-3-1 0 0 0,-1 1 0 0 0,-3 0 0 0 0,-1-1 0 0 0,-1 1 0 0 0,0 2 0 0 0,1-2 0 0 0,0-2 0 0 0,0 3 0 0 0,-1 1 0 0 0,0 0 0 0 0,2-1 0 0 0,2-1 0 0 0,4 0 0 0 0,1 0 0 0 0,2-1 0 0 0,-4 0 0 0 0,-1 0 0 0 0,-3 3 0 0 0,-4 0 0 0 0,-5 0 0 0 0,-4 3 0 0 0,-3-1 0 0 0,-2 0 0 0 0,-2 1 0 0 0,-3 0 0 0 0,-1-2 0 0 0,-2 0 0 0 0,0-2 0 0 0,-2-1 0 0 0,1-1 0 0 0,2 0 0 0 0,1 0 0 0 0,0 0 0 0 0,2-1 0 0 0,0 1 0 0 0,-1 0 0 0 0,2 0 0 0 0,0 0 0 0 0,-2 0 0 0 0,2 0 0 0 0,2 0 0 0 0,0 0 0 0 0,-2-3 0 0 0,1 2 0 0 0,0 2 0 0 0,-3-3 0 0 0,0 2 0 0 0,-3 0 0 0 0,0-1 0 0 0,-1-1 0 0 0,0-1 0 0 0,0 1 0 0 0,-1 1 0 0 0,-2-3 0 0 0,-1 0 0 0 0,0 0 0 0 0,1 4 0 0 0,1-1 0 0 0,0 0 0 0 0,2 0 0 0 0,-1 2 0 0 0,1-1 0 0 0,3 0 0 0 0,0-1 0 0 0,0 0 0 0 0,0 0 0 0 0,2 1 0 0 0,-1-3 0 0 0,3-1 0 0 0,-1 1 0 0 0,2 0 0 0 0,5 1 0 0 0,2 1 0 0 0,5 0 0 0 0,3 1 0 0 0,4 0 0 0 0,3 0 0 0 0,4 0 0 0 0,-2-2 0 0 0,0-2 0 0 0,-3 1 0 0 0,-4-2 0 0 0,-6-1 0 0 0,-4 1 0 0 0,-4-1 0 0 0,-2 1 0 0 0,1-3 0 0 0,1 1 0 0 0,1 2 0 0 0,4 1 0 0 0,2 2 0 0 0,4 1 0 0 0,0 0 0 0 0,-1 1 0 0 0,1 3 0 0 0,0 1 0 0 0,-1 0 0 0 0,-2-1 0 0 0,-1 1 0 0 0,-4 1 0 0 0,-2-1 0 0 0,0-1 0 0 0,12 2 0 0 0,-2 0 0 0 0</inkml:trace>
</inkml:ink>
</file>

<file path=ppt/ink/ink5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12-23T08:21:11.225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22661 9007 16383 0 0,'-8'0'0'0'0,"-10"-2"0"0"0,-9-1 0 0 0,-5 1 0 0 0,-3 0 0 0 0,-2-2 0 0 0,-4 0 0 0 0,0 1 0 0 0,2 1 0 0 0,2 0 0 0 0,4 1 0 0 0,5 1 0 0 0,4 0 0 0 0,4 0 0 0 0,0 0 0 0 0,0 0 0 0 0,2 0 0 0 0,-2 0 0 0 0,0 1 0 0 0,1-1 0 0 0,0 0 0 0 0,1 0 0 0 0,-1 0 0 0 0,1 0 0 0 0,2 0 0 0 0,-2 0 0 0 0,1 0 0 0 0,-1 0 0 0 0,-1 0 0 0 0,-1 0 0 0 0,2 0 0 0 0,-2 0 0 0 0,0 0 0 0 0,1 0 0 0 0,1 0 0 0 0,3 0 0 0 0,-3 0 0 0 0,-1 0 0 0 0,1 0 0 0 0,0 0 0 0 0,-4 0 0 0 0,-3 0 0 0 0,0 0 0 0 0,-1 0 0 0 0,2 0 0 0 0,-1 0 0 0 0,1 0 0 0 0,3 0 0 0 0,3 0 0 0 0,3 0 0 0 0,1 0 0 0 0,1 0 0 0 0,1 0 0 0 0,-2 0 0 0 0,-3 0 0 0 0,-5 0 0 0 0,-2 0 0 0 0,-4 0 0 0 0,-2 0 0 0 0,3 0 0 0 0,2 0 0 0 0,0 0 0 0 0,-1 0 0 0 0,1 0 0 0 0,3 0 0 0 0,3 0 0 0 0,3 0 0 0 0,2 0 0 0 0,1 0 0 0 0,-2 0 0 0 0,-1 0 0 0 0,-2 0 0 0 0,0 0 0 0 0,-5 0 0 0 0,-4 0 0 0 0,0 2 0 0 0,3 0 0 0 0,3 1 0 0 0,3-1 0 0 0,3 0 0 0 0,-1-1 0 0 0,1-1 0 0 0,0 0 0 0 0,1 0 0 0 0,1 0 0 0 0,0 0 0 0 0,1 0 0 0 0,-3 0 0 0 0,0 0 0 0 0,0 0 0 0 0,1 0 0 0 0,0 0 0 0 0,1 0 0 0 0,2 0 0 0 0</inkml:trace>
</inkml:ink>
</file>

<file path=ppt/ink/ink5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12-23T08:21:11.226"/>
    </inkml:context>
    <inkml:brush xml:id="br0">
      <inkml:brushProperty name="width" value="0.1" units="cm"/>
      <inkml:brushProperty name="height" value="0.1" units="cm"/>
      <inkml:brushProperty name="color" value="#E71224"/>
    </inkml:brush>
  </inkml:definitions>
  <inkml:trace contextRef="#ctx0" brushRef="#br0">20724 8599 16383 0 0,'-2'2'0'0'0,"-3"5"0"0"0,-2 3 0 0 0,-3 3 0 0 0,1 0 0 0 0,-1-1 0 0 0,2-1 0 0 0,-2-1 0 0 0,-1-1 0 0 0,-2-2 0 0 0,1-1 0 0 0,1 1 0 0 0,1-1 0 0 0,-1-1 0 0 0,1 3 0 0 0,-3 2 0 0 0,-2-1 0 0 0,1-2 0 0 0,2 0 0 0 0,0-1 0 0 0,2-1 0 0 0,-1 0 0 0 0,0-1 0 0 0,-1-1 0 0 0,2 2 0 0 0,-1 1 0 0 0,-1 0 0 0 0,1 1 0 0 0,1 4 0 0 0,-1-1 0 0 0,1 1 0 0 0,-2-2 0 0 0,3 0 0 0 0,0-2 0 0 0,-3-2 0 0 0,1 1 0 0 0,0 0 0 0 0,0 0 0 0 0,2 1 0 0 0,0 2 0 0 0,0 3 0 0 0,1 1 0 0 0,0 1 0 0 0,1 1 0 0 0,0-1 0 0 0,1-1 0 0 0,2 1 0 0 0,1-2 0 0 0,1 3 0 0 0,2 0 0 0 0,-1 0 0 0 0,2 0 0 0 0,-1-2 0 0 0,0 1 0 0 0,2-4 0 0 0,4-2 0 0 0,1-5 0 0 0,3-3 0 0 0,1-2 0 0 0,-1-2 0 0 0,2-3 0 0 0,2 0 0 0 0,-1 1 0 0 0,0 2 0 0 0,3 1 0 0 0,2-1 0 0 0,0-4 0 0 0,-1 0 0 0 0,2-1 0 0 0,-2-2 0 0 0,2 2 0 0 0,1 2 0 0 0,4 2 0 0 0,-1 2 0 0 0,-1 2 0 0 0,-3 1 0 0 0,-2 0 0 0 0,-2 0 0 0 0,-2 1 0 0 0,2-1 0 0 0,-1 0 0 0 0,3 1 0 0 0,0 1 0 0 0,-1 1 0 0 0,-3 4 0 0 0,1 0 0 0 0,-1 2 0 0 0,1-1 0 0 0,-1 1 0 0 0,0 0 0 0 0,-1-1 0 0 0,1 0 0 0 0,-3 1 0 0 0,2-1 0 0 0,-2 0 0 0 0,0-1 0 0 0,0 2 0 0 0,-1 2 0 0 0,-3 1 0 0 0,1-1 0 0 0,0-3 0 0 0,-1-1 0 0 0,1 1 0 0 0,2-1 0 0 0,3-2 0 0 0,-1 1 0 0 0,-2 1 0 0 0,0-1 0 0 0,-2 4 0 0 0,-2-1 0 0 0</inkml:trace>
</inkml:ink>
</file>

<file path=ppt/ink/ink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12-22T17:16:33.023"/>
    </inkml:context>
    <inkml:brush xml:id="br0">
      <inkml:brushProperty name="width" value="0.3" units="cm"/>
      <inkml:brushProperty name="height" value="0.6" units="cm"/>
      <inkml:brushProperty name="color" value="#0069AF"/>
      <inkml:brushProperty name="tip" value="rectangle"/>
      <inkml:brushProperty name="rasterOp" value="maskPen"/>
    </inkml:brush>
  </inkml:definitions>
  <inkml:trace contextRef="#ctx0" brushRef="#br0">21220 8818 16383 0 0,'5'3'0'0'0,"13"-2"0"0"0,8-1 0 0 0,9-1 0 0 0,2-3 0 0 0,7 0 0 0 0,6-2 0 0 0,9-4 0 0 0,6 1 0 0 0,10-1 0 0 0,7-2 0 0 0,6 2 0 0 0,8 4 0 0 0,7 5 0 0 0,9-2 0 0 0,7 1 0 0 0,1-3 0 0 0,0-3 0 0 0,1 0 0 0 0,3-1 0 0 0,3 1 0 0 0,-2 1 0 0 0,-3 3 0 0 0,-9 1 0 0 0,-7 2 0 0 0,-9 0 0 0 0,-4 4 0 0 0,-3 1 0 0 0,1 2 0 0 0,0 1 0 0 0,1 1 0 0 0,1 0 0 0 0,0-2 0 0 0,2 1 0 0 0,-1-1 0 0 0,1-1 0 0 0,-3 1 0 0 0,-3-1 0 0 0,-1 0 0 0 0,4-2 0 0 0,1 1 0 0 0,8 1 0 0 0,2-1 0 0 0,-1-2 0 0 0,-3 0 0 0 0,-9-4 0 0 0,-8 2 0 0 0,-8 0 0 0 0,-5 1 0 0 0,-4-1 0 0 0,-8 3 0 0 0,-5 1 0 0 0,-3 3 0 0 0,0 2 0 0 0,-8 0 0 0 0</inkml:trace>
</inkml:ink>
</file>

<file path=ppt/ink/ink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12-22T17:16:33.024"/>
    </inkml:context>
    <inkml:brush xml:id="br0">
      <inkml:brushProperty name="width" value="0.3" units="cm"/>
      <inkml:brushProperty name="height" value="0.6" units="cm"/>
      <inkml:brushProperty name="color" value="#0069AF"/>
      <inkml:brushProperty name="tip" value="rectangle"/>
      <inkml:brushProperty name="rasterOp" value="maskPen"/>
    </inkml:brush>
  </inkml:definitions>
  <inkml:trace contextRef="#ctx0" brushRef="#br0">21431 9194 16383 0 0,'16'0'0'0'0,"14"0"0"0"0,9 0 0 0 0,9 3 0 0 0,10 0 0 0 0,8 3 0 0 0,10 1 0 0 0,15-2 0 0 0,20-1 0 0 0,19-1 0 0 0,24-2 0 0 0,23 0 0 0 0,19-1 0 0 0,13-3 0 0 0,9-1 0 0 0,6-2 0 0 0,-4-3 0 0 0,-10-3 0 0 0,-10 1 0 0 0,-8-1 0 0 0,-12 0 0 0 0,-12 1 0 0 0,-14 0 0 0 0,-11 5 0 0 0,-8 3 0 0 0,-9 2 0 0 0,-9 1 0 0 0,-9-1 0 0 0,-12-2 0 0 0,-14 1 0 0 0,-10 0 0 0 0,-12 0 0 0 0,-12 1 0 0 0,-7 1 0 0 0,-6 0 0 0 0,-6 2 0 0 0,-6 4 0 0 0,-6 2 0 0 0</inkml:trace>
</inkml:ink>
</file>

<file path=ppt/ink/ink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12-22T17:16:33.025"/>
    </inkml:context>
    <inkml:brush xml:id="br0">
      <inkml:brushProperty name="width" value="0.3" units="cm"/>
      <inkml:brushProperty name="height" value="0.6" units="cm"/>
      <inkml:brushProperty name="color" value="#0069AF"/>
      <inkml:brushProperty name="tip" value="rectangle"/>
      <inkml:brushProperty name="rasterOp" value="maskPen"/>
    </inkml:brush>
  </inkml:definitions>
  <inkml:trace contextRef="#ctx0" brushRef="#br0">18323 9433 16383 0 0,'-3'-3'0'0'0,"16"2"0"0"0,13 4 0 0 0,10 4 0 0 0,8 4 0 0 0,3-1 0 0 0,9-1 0 0 0,6 0 0 0 0,8-2 0 0 0,4 2 0 0 0,9-2 0 0 0,7-2 0 0 0,6-1 0 0 0,8 1 0 0 0,9 0 0 0 0,9-2 0 0 0,2 0 0 0 0,-1-2 0 0 0,0 0 0 0 0,4 0 0 0 0,1-4 0 0 0,3-3 0 0 0,-2-2 0 0 0,-1-1 0 0 0,-3-2 0 0 0,-5-2 0 0 0,-4 4 0 0 0,-5 4 0 0 0,-6-1 0 0 0,-9 2 0 0 0,-6 1 0 0 0,-7 0 0 0 0,-4 2 0 0 0,-2 1 0 0 0,-1-3 0 0 0,3 0 0 0 0,1-1 0 0 0,1 2 0 0 0,-3 0 0 0 0,-1 1 0 0 0,0 1 0 0 0,-3 2 0 0 0,0 4 0 0 0,0 4 0 0 0,4 3 0 0 0,3 1 0 0 0,0-1 0 0 0,0 0 0 0 0,0-3 0 0 0,-1 0 0 0 0,0-1 0 0 0,-1 2 0 0 0,-2 0 0 0 0,-7-2 0 0 0,-7-3 0 0 0,-6 1 0 0 0,-5-1 0 0 0,-6-2 0 0 0,-5-1 0 0 0,-5 1 0 0 0,-2 0 0 0 0,-5 0 0 0 0,-4-1 0 0 0,-5 1 0 0 0,-2 0 0 0 0,-4 3 0 0 0,-2-1 0 0 0,-1 0 0 0 0,-4 0 0 0 0,-6 0 0 0 0,-7 1 0 0 0,-1 0 0 0 0</inkml:trace>
</inkml:ink>
</file>

<file path=ppt/ink/ink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2-12-22T17:16:33.026"/>
    </inkml:context>
    <inkml:brush xml:id="br0">
      <inkml:brushProperty name="width" value="0.3" units="cm"/>
      <inkml:brushProperty name="height" value="0.6" units="cm"/>
      <inkml:brushProperty name="color" value="#0069AF"/>
      <inkml:brushProperty name="tip" value="rectangle"/>
      <inkml:brushProperty name="rasterOp" value="maskPen"/>
    </inkml:brush>
  </inkml:definitions>
  <inkml:trace contextRef="#ctx0" brushRef="#br0">18812 9774 16383 0 0,'13'8'0'0'0,"13"3"0"0"0,7 2 0 0 0,12 1 0 0 0,11 2 0 0 0,12 0 0 0 0,14-3 0 0 0,12-3 0 0 0,8-3 0 0 0,8-3 0 0 0,10-3 0 0 0,12-3 0 0 0,12-2 0 0 0,12-3 0 0 0,8-2 0 0 0,9-1 0 0 0,5 0 0 0 0,-2-2 0 0 0,-6-1 0 0 0,-5-2 0 0 0,-7-3 0 0 0,-8 2 0 0 0,-9 0 0 0 0,-9 1 0 0 0,-8-1 0 0 0,-7 4 0 0 0,-4 0 0 0 0,-2 2 0 0 0,-5 1 0 0 0,-6 1 0 0 0,-5 0 0 0 0,-4 1 0 0 0,1 2 0 0 0,0-1 0 0 0,2-3 0 0 0,0 1 0 0 0,-2 5 0 0 0,-4 2 0 0 0,-5 1 0 0 0,-4 4 0 0 0,-2 4 0 0 0,0 0 0 0 0,2-1 0 0 0,2-2 0 0 0,-3 2 0 0 0,-3-2 0 0 0,-4 2 0 0 0,-6 0 0 0 0,-6-2 0 0 0,-5-1 0 0 0,-6 0 0 0 0,-4 1 0 0 0,-3-1 0 0 0,-1-4 0 0 0,1 1 0 0 0,-2 0 0 0 0,-1 0 0 0 0,-2 0 0 0 0,-5 2 0 0 0,-4 1 0 0 0,-5 0 0 0 0,-3-4 0 0 0,-2-2 0 0 0,-4 3 0 0 0,-4-3 0 0 0,-2 3 0 0 0,-3 1 0 0 0,-6-3 0 0 0,-3-1 0 0 0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542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542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F93AEB5-C303-4762-90A0-AF697EB357C4}" type="datetimeFigureOut">
              <a:rPr lang="de-DE" smtClean="0"/>
              <a:t>27.12.2022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36563" y="1233488"/>
            <a:ext cx="5924550" cy="33337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751983"/>
            <a:ext cx="5438140" cy="3887986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378824"/>
            <a:ext cx="2945659" cy="49542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3" y="9378824"/>
            <a:ext cx="2945659" cy="49542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90C587F-9620-41AA-8442-404D6D59762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3688656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90C587F-9620-41AA-8442-404D6D597627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4866133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emf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emf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.emf"/><Relationship Id="rId5" Type="http://schemas.openxmlformats.org/officeDocument/2006/relationships/image" Target="../media/image10.emf"/><Relationship Id="rId4" Type="http://schemas.openxmlformats.org/officeDocument/2006/relationships/image" Target="../media/image2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/Untertitel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2"/>
          <p:cNvSpPr>
            <a:spLocks noGrp="1"/>
          </p:cNvSpPr>
          <p:nvPr>
            <p:ph type="pic" idx="15" hasCustomPrompt="1"/>
          </p:nvPr>
        </p:nvSpPr>
        <p:spPr>
          <a:xfrm>
            <a:off x="0" y="1247779"/>
            <a:ext cx="12192000" cy="5610225"/>
          </a:xfrm>
          <a:noFill/>
        </p:spPr>
        <p:txBody>
          <a:bodyPr/>
          <a:lstStyle>
            <a:lvl1pPr marL="0" indent="0" algn="ctr">
              <a:buNone/>
              <a:defRPr sz="1999" b="1">
                <a:solidFill>
                  <a:schemeClr val="tx1"/>
                </a:solidFill>
                <a:latin typeface="+mj-lt"/>
              </a:defRPr>
            </a:lvl1pPr>
            <a:lvl2pPr marL="457203" indent="0">
              <a:buNone/>
              <a:defRPr sz="2800"/>
            </a:lvl2pPr>
            <a:lvl3pPr marL="914407" indent="0">
              <a:buNone/>
              <a:defRPr sz="2400"/>
            </a:lvl3pPr>
            <a:lvl4pPr marL="1371610" indent="0">
              <a:buNone/>
              <a:defRPr sz="1999"/>
            </a:lvl4pPr>
            <a:lvl5pPr marL="1828813" indent="0">
              <a:buNone/>
              <a:defRPr sz="1999"/>
            </a:lvl5pPr>
            <a:lvl6pPr marL="2286017" indent="0">
              <a:buNone/>
              <a:defRPr sz="1999"/>
            </a:lvl6pPr>
            <a:lvl7pPr marL="2743220" indent="0">
              <a:buNone/>
              <a:defRPr sz="1999"/>
            </a:lvl7pPr>
            <a:lvl8pPr marL="3200424" indent="0">
              <a:buNone/>
              <a:defRPr sz="1999"/>
            </a:lvl8pPr>
            <a:lvl9pPr marL="3657627" indent="0">
              <a:buNone/>
              <a:defRPr sz="1999"/>
            </a:lvl9pPr>
          </a:lstStyle>
          <a:p>
            <a:br>
              <a:rPr lang="de-DE"/>
            </a:br>
            <a:br>
              <a:rPr lang="de-DE"/>
            </a:br>
            <a:br>
              <a:rPr lang="de-DE"/>
            </a:br>
            <a:br>
              <a:rPr lang="de-DE"/>
            </a:br>
            <a:r>
              <a:rPr lang="de-DE"/>
              <a:t>Bild einfügen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0" y="4176717"/>
            <a:ext cx="12192000" cy="2681286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lIns="1386000" tIns="626400" rIns="612000" anchor="t" anchorCtr="0"/>
          <a:lstStyle>
            <a:lvl1pPr algn="l">
              <a:lnSpc>
                <a:spcPct val="82000"/>
              </a:lnSpc>
              <a:defRPr sz="3601" spc="20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Titel der Präsentation</a:t>
            </a:r>
          </a:p>
        </p:txBody>
      </p:sp>
      <p:grpSp>
        <p:nvGrpSpPr>
          <p:cNvPr id="27" name="Regieanweisungen"/>
          <p:cNvGrpSpPr/>
          <p:nvPr/>
        </p:nvGrpSpPr>
        <p:grpSpPr>
          <a:xfrm>
            <a:off x="406400" y="-468000"/>
            <a:ext cx="14521600" cy="1980001"/>
            <a:chOff x="304800" y="-468001"/>
            <a:chExt cx="10891200" cy="1980001"/>
          </a:xfrm>
        </p:grpSpPr>
        <p:sp>
          <p:nvSpPr>
            <p:cNvPr id="28" name="Hilfslinien"/>
            <p:cNvSpPr txBox="1"/>
            <p:nvPr userDrawn="1"/>
          </p:nvSpPr>
          <p:spPr>
            <a:xfrm rot="10800000" flipH="1" flipV="1">
              <a:off x="4571999" y="-468000"/>
              <a:ext cx="4265614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2871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ilfslinien anzeigen über Menu: </a:t>
              </a:r>
            </a:p>
            <a:p>
              <a:pPr marL="0" marR="0" lvl="0" indent="0" algn="r" defTabSz="2871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Anzeigen &gt; </a:t>
              </a:r>
              <a:r>
                <a:rPr kumimoji="0" lang="de-DE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</a:t>
              </a:r>
              <a:r>
                <a:rPr kumimoji="0" lang="de-DE" sz="10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r>
                <a:rPr kumimoji="0" lang="de-DE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bei</a:t>
              </a:r>
              <a:r>
                <a:rPr kumimoji="0" lang="de-DE" sz="10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Führungslinien </a:t>
              </a:r>
              <a:r>
                <a:rPr kumimoji="0" lang="de-DE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29" name="Zurücksetzen"/>
            <p:cNvSpPr txBox="1"/>
            <p:nvPr userDrawn="1"/>
          </p:nvSpPr>
          <p:spPr>
            <a:xfrm rot="10800000" flipH="1" flipV="1">
              <a:off x="9252000" y="-1"/>
              <a:ext cx="1944000" cy="898525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bringen über Menu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1" baseline="0">
                  <a:solidFill>
                    <a:schemeClr val="tx1"/>
                  </a:solidFill>
                  <a:latin typeface="+mn-lt"/>
                </a:rPr>
                <a:t>Start &gt; Folien &gt; Zurücksetzen</a:t>
              </a:r>
            </a:p>
          </p:txBody>
        </p:sp>
        <p:sp>
          <p:nvSpPr>
            <p:cNvPr id="30" name="Layoutwechsel"/>
            <p:cNvSpPr txBox="1"/>
            <p:nvPr userDrawn="1"/>
          </p:nvSpPr>
          <p:spPr>
            <a:xfrm rot="10800000" flipH="1" flipV="1">
              <a:off x="9252000" y="1008000"/>
              <a:ext cx="1944000" cy="504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Wechsel des Folienlayouts </a:t>
              </a:r>
              <a:br>
                <a:rPr lang="de-DE" sz="1000" b="0" baseline="0">
                  <a:solidFill>
                    <a:schemeClr val="tx1"/>
                  </a:solidFill>
                  <a:latin typeface="+mn-lt"/>
                </a:rPr>
              </a:b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im Menü über:</a:t>
              </a:r>
            </a:p>
            <a:p>
              <a:pPr marL="0" marR="0" lvl="0" indent="0" algn="l" defTabSz="251725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1" baseline="0">
                  <a:solidFill>
                    <a:schemeClr val="tx1"/>
                  </a:solidFill>
                  <a:latin typeface="+mn-lt"/>
                </a:rPr>
                <a:t>Start &gt; Folien &gt; Layout</a:t>
              </a:r>
            </a:p>
          </p:txBody>
        </p:sp>
        <p:sp>
          <p:nvSpPr>
            <p:cNvPr id="37" name="Kopfzeile"/>
            <p:cNvSpPr txBox="1"/>
            <p:nvPr userDrawn="1"/>
          </p:nvSpPr>
          <p:spPr>
            <a:xfrm rot="10800000" flipH="1" flipV="1">
              <a:off x="304800" y="-468001"/>
              <a:ext cx="4267199" cy="360002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Kopfzeile anpassen: </a:t>
              </a:r>
              <a:r>
                <a:rPr lang="de-DE" sz="1000" b="1" baseline="0">
                  <a:solidFill>
                    <a:schemeClr val="tx1"/>
                  </a:solidFill>
                  <a:latin typeface="+mn-lt"/>
                </a:rPr>
                <a:t>Einfügen &gt; Text &gt; Kopf- und Fußzeile</a:t>
              </a:r>
            </a:p>
          </p:txBody>
        </p:sp>
      </p:grp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CFB462B3-CEB1-499F-9A93-54BFC478EC1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406401" y="6984001"/>
            <a:ext cx="7375299" cy="216000"/>
          </a:xfrm>
        </p:spPr>
        <p:txBody>
          <a:bodyPr/>
          <a:lstStyle/>
          <a:p>
            <a:r>
              <a:rPr lang="de-DE"/>
              <a:t>Oliver Daub Dennis Stehle und Robin Starkl | Pylint Workshop | WIN | WiSe 22/3</a:t>
            </a:r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AAD5C655-E4E0-43F9-B6D2-6069D0E19D55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9883778" y="6984001"/>
            <a:ext cx="1899711" cy="216000"/>
          </a:xfrm>
        </p:spPr>
        <p:txBody>
          <a:bodyPr/>
          <a:lstStyle/>
          <a:p>
            <a:r>
              <a:rPr lang="de-DE"/>
              <a:t>|  </a:t>
            </a:r>
            <a:fld id="{E6B5151A-17C4-4431-8407-112C0160A8B6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22" name="Vertikaler Textplatzhalter 2">
            <a:extLst>
              <a:ext uri="{FF2B5EF4-FFF2-40B4-BE49-F238E27FC236}">
                <a16:creationId xmlns:a16="http://schemas.microsoft.com/office/drawing/2014/main" id="{33F9B68E-1F14-4F70-9B07-D77470E5CBEB}"/>
              </a:ext>
            </a:extLst>
          </p:cNvPr>
          <p:cNvSpPr>
            <a:spLocks noGrp="1"/>
          </p:cNvSpPr>
          <p:nvPr>
            <p:ph type="body" orient="vert" idx="19" hasCustomPrompt="1"/>
          </p:nvPr>
        </p:nvSpPr>
        <p:spPr>
          <a:xfrm>
            <a:off x="1386000" y="5311011"/>
            <a:ext cx="10397484" cy="792000"/>
          </a:xfrm>
        </p:spPr>
        <p:txBody>
          <a:bodyPr vert="horz"/>
          <a:lstStyle>
            <a:lvl1pPr marL="0" indent="0">
              <a:lnSpc>
                <a:spcPct val="97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lang="de-DE" sz="2400" b="1" i="0" u="none" strike="noStrike" baseline="0" smtClean="0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ct val="97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2400" b="1">
                <a:solidFill>
                  <a:schemeClr val="bg1"/>
                </a:solidFill>
                <a:latin typeface="+mj-lt"/>
              </a:defRPr>
            </a:lvl2pPr>
            <a:lvl3pPr marL="0" indent="0">
              <a:lnSpc>
                <a:spcPct val="97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2400" b="1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97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2400" b="1">
                <a:solidFill>
                  <a:schemeClr val="bg1"/>
                </a:solidFill>
                <a:latin typeface="+mj-lt"/>
              </a:defRPr>
            </a:lvl4pPr>
            <a:lvl5pPr marL="0" indent="0">
              <a:lnSpc>
                <a:spcPct val="97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2400" b="1">
                <a:solidFill>
                  <a:schemeClr val="bg1"/>
                </a:solidFill>
                <a:latin typeface="+mj-lt"/>
              </a:defRPr>
            </a:lvl5pPr>
            <a:lvl6pPr marL="0" indent="0">
              <a:lnSpc>
                <a:spcPct val="97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2400" b="1">
                <a:solidFill>
                  <a:schemeClr val="bg1"/>
                </a:solidFill>
                <a:latin typeface="+mj-lt"/>
              </a:defRPr>
            </a:lvl6pPr>
            <a:lvl7pPr marL="0" indent="0">
              <a:lnSpc>
                <a:spcPct val="97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2400" b="1">
                <a:solidFill>
                  <a:schemeClr val="bg1"/>
                </a:solidFill>
                <a:latin typeface="+mj-lt"/>
              </a:defRPr>
            </a:lvl7pPr>
            <a:lvl8pPr marL="0" indent="0">
              <a:lnSpc>
                <a:spcPct val="97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2400" b="1">
                <a:solidFill>
                  <a:schemeClr val="bg1"/>
                </a:solidFill>
                <a:latin typeface="+mj-lt"/>
              </a:defRPr>
            </a:lvl8pPr>
            <a:lvl9pPr marL="0" indent="0">
              <a:lnSpc>
                <a:spcPct val="97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2400" b="1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de-DE"/>
              <a:t>Thema des Referats Thema des Referats Thema des Referats Thema des Referats </a:t>
            </a:r>
          </a:p>
        </p:txBody>
      </p:sp>
      <p:sp>
        <p:nvSpPr>
          <p:cNvPr id="23" name="Vertikaler Textplatzhalter 2">
            <a:extLst>
              <a:ext uri="{FF2B5EF4-FFF2-40B4-BE49-F238E27FC236}">
                <a16:creationId xmlns:a16="http://schemas.microsoft.com/office/drawing/2014/main" id="{6354D33E-28C2-47F2-851F-773C0FE0AB9E}"/>
              </a:ext>
            </a:extLst>
          </p:cNvPr>
          <p:cNvSpPr>
            <a:spLocks noGrp="1"/>
          </p:cNvSpPr>
          <p:nvPr>
            <p:ph type="body" orient="vert" idx="20" hasCustomPrompt="1"/>
          </p:nvPr>
        </p:nvSpPr>
        <p:spPr>
          <a:xfrm>
            <a:off x="1386000" y="6372000"/>
            <a:ext cx="10397489" cy="252000"/>
          </a:xfrm>
        </p:spPr>
        <p:txBody>
          <a:bodyPr vert="horz"/>
          <a:lstStyle>
            <a:lvl1pPr marL="0" indent="0">
              <a:lnSpc>
                <a:spcPct val="97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300" b="1" spc="60" baseline="0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ct val="97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300" b="1" spc="60" baseline="0">
                <a:solidFill>
                  <a:schemeClr val="bg1"/>
                </a:solidFill>
                <a:latin typeface="+mj-lt"/>
              </a:defRPr>
            </a:lvl2pPr>
            <a:lvl3pPr marL="0" indent="0">
              <a:lnSpc>
                <a:spcPct val="97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300" b="1" spc="60" baseline="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97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300" b="1" spc="60" baseline="0">
                <a:solidFill>
                  <a:schemeClr val="bg1"/>
                </a:solidFill>
                <a:latin typeface="+mj-lt"/>
              </a:defRPr>
            </a:lvl4pPr>
            <a:lvl5pPr marL="0" indent="0">
              <a:lnSpc>
                <a:spcPct val="97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300" b="1" spc="60" baseline="0">
                <a:solidFill>
                  <a:schemeClr val="bg1"/>
                </a:solidFill>
                <a:latin typeface="+mj-lt"/>
              </a:defRPr>
            </a:lvl5pPr>
            <a:lvl6pPr marL="0" indent="0">
              <a:lnSpc>
                <a:spcPct val="97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300" b="1" spc="60" baseline="0">
                <a:solidFill>
                  <a:schemeClr val="bg1"/>
                </a:solidFill>
                <a:latin typeface="+mj-lt"/>
              </a:defRPr>
            </a:lvl6pPr>
            <a:lvl7pPr marL="0" indent="0">
              <a:lnSpc>
                <a:spcPct val="97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300" b="1" spc="60" baseline="0">
                <a:solidFill>
                  <a:schemeClr val="bg1"/>
                </a:solidFill>
                <a:latin typeface="+mj-lt"/>
              </a:defRPr>
            </a:lvl7pPr>
            <a:lvl8pPr marL="0" indent="0">
              <a:lnSpc>
                <a:spcPct val="97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300" b="1" spc="60" baseline="0">
                <a:solidFill>
                  <a:schemeClr val="bg1"/>
                </a:solidFill>
                <a:latin typeface="+mj-lt"/>
              </a:defRPr>
            </a:lvl8pPr>
            <a:lvl9pPr marL="0" indent="0">
              <a:lnSpc>
                <a:spcPct val="97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300" b="1" spc="60" baseline="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de-DE"/>
              <a:t>Referent / Fakultät / Studiengang | </a:t>
            </a:r>
            <a:r>
              <a:rPr lang="de-DE" err="1"/>
              <a:t>WiSe</a:t>
            </a:r>
            <a:r>
              <a:rPr lang="de-DE"/>
              <a:t>/</a:t>
            </a:r>
            <a:r>
              <a:rPr lang="de-DE" err="1"/>
              <a:t>SoSe</a:t>
            </a:r>
            <a:r>
              <a:rPr lang="de-DE"/>
              <a:t> 2017/19</a:t>
            </a:r>
          </a:p>
        </p:txBody>
      </p:sp>
      <p:sp>
        <p:nvSpPr>
          <p:cNvPr id="18" name="Vertikaler Textplatzhalter 2">
            <a:extLst>
              <a:ext uri="{FF2B5EF4-FFF2-40B4-BE49-F238E27FC236}">
                <a16:creationId xmlns:a16="http://schemas.microsoft.com/office/drawing/2014/main" id="{0066C18D-46D1-4FD0-B624-24CB6294D971}"/>
              </a:ext>
            </a:extLst>
          </p:cNvPr>
          <p:cNvSpPr>
            <a:spLocks noGrp="1" noChangeAspect="1"/>
          </p:cNvSpPr>
          <p:nvPr>
            <p:ph type="body" orient="vert" idx="21" hasCustomPrompt="1"/>
          </p:nvPr>
        </p:nvSpPr>
        <p:spPr>
          <a:xfrm>
            <a:off x="1152000" y="4904882"/>
            <a:ext cx="128025" cy="204840"/>
          </a:xfr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vert="horz" wrap="none" tIns="7200" rIns="2574000"/>
          <a:lstStyle>
            <a:lvl1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1" cap="all" baseline="0">
                <a:solidFill>
                  <a:schemeClr val="tx1"/>
                </a:solidFill>
                <a:latin typeface="+mj-lt"/>
              </a:defRPr>
            </a:lvl1pPr>
            <a:lvl2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1" cap="all">
                <a:solidFill>
                  <a:schemeClr val="tx1"/>
                </a:solidFill>
                <a:latin typeface="+mj-lt"/>
              </a:defRPr>
            </a:lvl2pPr>
            <a:lvl3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1" cap="all">
                <a:solidFill>
                  <a:schemeClr val="tx1"/>
                </a:solidFill>
                <a:latin typeface="+mj-lt"/>
              </a:defRPr>
            </a:lvl3pPr>
            <a:lvl4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1" cap="all">
                <a:solidFill>
                  <a:schemeClr val="tx1"/>
                </a:solidFill>
                <a:latin typeface="+mj-lt"/>
              </a:defRPr>
            </a:lvl4pPr>
            <a:lvl5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1" cap="all">
                <a:solidFill>
                  <a:schemeClr val="tx1"/>
                </a:solidFill>
                <a:latin typeface="+mj-lt"/>
              </a:defRPr>
            </a:lvl5pPr>
            <a:lvl6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1" cap="all">
                <a:solidFill>
                  <a:schemeClr val="tx1"/>
                </a:solidFill>
                <a:latin typeface="+mj-lt"/>
              </a:defRPr>
            </a:lvl6pPr>
            <a:lvl7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1" cap="all">
                <a:solidFill>
                  <a:schemeClr val="tx1"/>
                </a:solidFill>
                <a:latin typeface="+mj-lt"/>
              </a:defRPr>
            </a:lvl7pPr>
            <a:lvl8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1" cap="all">
                <a:solidFill>
                  <a:schemeClr val="tx1"/>
                </a:solidFill>
                <a:latin typeface="+mj-lt"/>
              </a:defRPr>
            </a:lvl8pPr>
            <a:lvl9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1" cap="all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Bitte nicht</a:t>
            </a:r>
            <a:br>
              <a:rPr lang="de-DE"/>
            </a:br>
            <a:r>
              <a:rPr lang="de-DE"/>
              <a:t>verschieben</a:t>
            </a:r>
          </a:p>
        </p:txBody>
      </p:sp>
      <p:pic>
        <p:nvPicPr>
          <p:cNvPr id="15" name="Logo HHN">
            <a:extLst>
              <a:ext uri="{FF2B5EF4-FFF2-40B4-BE49-F238E27FC236}">
                <a16:creationId xmlns:a16="http://schemas.microsoft.com/office/drawing/2014/main" id="{62BFBF3D-6239-464C-9C45-6F2E0E30B24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17084" y="305319"/>
            <a:ext cx="2066400" cy="6977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263842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orient="horz" pos="2631">
          <p15:clr>
            <a:srgbClr val="FBAE40"/>
          </p15:clr>
        </p15:guide>
        <p15:guide id="2" orient="horz" pos="786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adline // Info // 2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Oliver Daub Dennis Stehle und Robin Starkl | Pylint Workshop | WIN | WiSe 22/3</a:t>
            </a: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/>
              <a:t>|  </a:t>
            </a:r>
            <a:fld id="{E6B5151A-17C4-4431-8407-112C0160A8B6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0" name="Titel 9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BR"/>
              <a:t>Headline einfügen</a:t>
            </a:r>
            <a:br>
              <a:rPr lang="pt-BR"/>
            </a:br>
            <a:r>
              <a:rPr lang="pt-BR"/>
              <a:t>über zwei Zeilen</a:t>
            </a:r>
            <a:endParaRPr lang="de-DE"/>
          </a:p>
        </p:txBody>
      </p:sp>
      <p:sp>
        <p:nvSpPr>
          <p:cNvPr id="11" name="Vertikaler Textplatzhalter 2"/>
          <p:cNvSpPr>
            <a:spLocks noGrp="1"/>
          </p:cNvSpPr>
          <p:nvPr>
            <p:ph type="body" orient="vert" idx="13" hasCustomPrompt="1"/>
          </p:nvPr>
        </p:nvSpPr>
        <p:spPr>
          <a:xfrm>
            <a:off x="406405" y="2033700"/>
            <a:ext cx="11377084" cy="396000"/>
          </a:xfrm>
        </p:spPr>
        <p:txBody>
          <a:bodyPr vert="horz"/>
          <a:lstStyle>
            <a:lvl1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999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None/>
              <a:defRPr sz="1999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999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999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None/>
              <a:defRPr sz="1999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None/>
              <a:defRPr sz="1999" b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999" b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999" b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999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/>
              <a:t>Kurze Info zum Inhalt</a:t>
            </a:r>
          </a:p>
        </p:txBody>
      </p:sp>
      <p:sp>
        <p:nvSpPr>
          <p:cNvPr id="12" name="Inhaltsplatzhalter 2"/>
          <p:cNvSpPr>
            <a:spLocks noGrp="1"/>
          </p:cNvSpPr>
          <p:nvPr>
            <p:ph idx="1" hasCustomPrompt="1"/>
          </p:nvPr>
        </p:nvSpPr>
        <p:spPr>
          <a:xfrm>
            <a:off x="406405" y="2565404"/>
            <a:ext cx="5592519" cy="3678237"/>
          </a:xfrm>
        </p:spPr>
        <p:txBody>
          <a:bodyPr/>
          <a:lstStyle>
            <a:lvl3pPr>
              <a:spcAft>
                <a:spcPts val="599"/>
              </a:spcAft>
              <a:defRPr/>
            </a:lvl3pPr>
          </a:lstStyle>
          <a:p>
            <a:pPr lvl="0"/>
            <a:r>
              <a:rPr lang="de-DE"/>
              <a:t>Text 22 Pt auf erster Ebene // für Aufzählung 22 Pt,  Text 20 Pt, Zwischenheadline und Aufzählungen 20 Pt &gt;&gt; Menü &gt; Start &gt; Absatz &gt; Listenebne erhöhen 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13" name="Inhaltsplatzhalter 2"/>
          <p:cNvSpPr>
            <a:spLocks noGrp="1"/>
          </p:cNvSpPr>
          <p:nvPr>
            <p:ph idx="14" hasCustomPrompt="1"/>
          </p:nvPr>
        </p:nvSpPr>
        <p:spPr>
          <a:xfrm>
            <a:off x="6192002" y="2565404"/>
            <a:ext cx="5591487" cy="3678237"/>
          </a:xfrm>
        </p:spPr>
        <p:txBody>
          <a:bodyPr/>
          <a:lstStyle>
            <a:lvl3pPr>
              <a:spcAft>
                <a:spcPts val="599"/>
              </a:spcAft>
              <a:defRPr/>
            </a:lvl3pPr>
          </a:lstStyle>
          <a:p>
            <a:pPr lvl="0"/>
            <a:r>
              <a:rPr lang="de-DE"/>
              <a:t>Text 22 Pt auf erster Ebene // für Aufzählung 22 Pt,  Text 20 Pt, Zwischenheadline und Aufzählungen 20 Pt &gt;&gt; Menü &gt; Start &gt; Absatz &gt; Listenebne erhöhen 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C521E18E-A770-4E5D-9F9D-DD7F975B4287}"/>
              </a:ext>
            </a:extLst>
          </p:cNvPr>
          <p:cNvSpPr/>
          <p:nvPr/>
        </p:nvSpPr>
        <p:spPr>
          <a:xfrm>
            <a:off x="10354792" y="302698"/>
            <a:ext cx="1428697" cy="5234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4" name="Logo HHN">
            <a:extLst>
              <a:ext uri="{FF2B5EF4-FFF2-40B4-BE49-F238E27FC236}">
                <a16:creationId xmlns:a16="http://schemas.microsoft.com/office/drawing/2014/main" id="{3A0A5579-2A70-4CA0-9BB4-8D72CB22052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59514" y="307131"/>
            <a:ext cx="1423970" cy="4808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1733392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orient="horz" pos="1616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adline // Info //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Oliver Daub Dennis Stehle und Robin Starkl | Pylint Workshop | WIN | WiSe 22/3</a:t>
            </a: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/>
              <a:t>|  </a:t>
            </a:r>
            <a:fld id="{E6B5151A-17C4-4431-8407-112C0160A8B6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0" name="Titel 9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BR"/>
              <a:t>Headline einfügen</a:t>
            </a:r>
            <a:br>
              <a:rPr lang="pt-BR"/>
            </a:br>
            <a:r>
              <a:rPr lang="pt-BR"/>
              <a:t>über zwei Zeilen</a:t>
            </a:r>
            <a:endParaRPr lang="de-DE"/>
          </a:p>
        </p:txBody>
      </p:sp>
      <p:sp>
        <p:nvSpPr>
          <p:cNvPr id="11" name="Vertikaler Textplatzhalter 2"/>
          <p:cNvSpPr>
            <a:spLocks noGrp="1"/>
          </p:cNvSpPr>
          <p:nvPr>
            <p:ph type="body" orient="vert" idx="13" hasCustomPrompt="1"/>
          </p:nvPr>
        </p:nvSpPr>
        <p:spPr>
          <a:xfrm>
            <a:off x="406400" y="2033700"/>
            <a:ext cx="11377085" cy="396000"/>
          </a:xfrm>
        </p:spPr>
        <p:txBody>
          <a:bodyPr vert="horz"/>
          <a:lstStyle>
            <a:lvl1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999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None/>
              <a:defRPr sz="1999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999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999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None/>
              <a:defRPr sz="1999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None/>
              <a:defRPr sz="1999" b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999" b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999" b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999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/>
              <a:t>Kurze Info zum Inhalt</a:t>
            </a:r>
          </a:p>
        </p:txBody>
      </p:sp>
      <p:sp>
        <p:nvSpPr>
          <p:cNvPr id="12" name="Inhaltsplatzhalter 2"/>
          <p:cNvSpPr>
            <a:spLocks noGrp="1"/>
          </p:cNvSpPr>
          <p:nvPr>
            <p:ph idx="1" hasCustomPrompt="1"/>
          </p:nvPr>
        </p:nvSpPr>
        <p:spPr>
          <a:xfrm>
            <a:off x="406405" y="2565404"/>
            <a:ext cx="11377084" cy="3678237"/>
          </a:xfrm>
        </p:spPr>
        <p:txBody>
          <a:bodyPr/>
          <a:lstStyle>
            <a:lvl3pPr>
              <a:spcAft>
                <a:spcPts val="599"/>
              </a:spcAft>
              <a:defRPr/>
            </a:lvl3pPr>
          </a:lstStyle>
          <a:p>
            <a:pPr lvl="0"/>
            <a:r>
              <a:rPr lang="de-DE"/>
              <a:t>Text 22 Pt auf erster Ebene // für Aufzählung 22 Pt,  Text 20 Pt, Zwischenheadline und Aufzählungen 20 Pt &gt;&gt; Menü &gt; Start &gt; Absatz &gt; Listenebne erhöhen 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EA13DF1D-F6B8-4491-A718-5C5B4819A43D}"/>
              </a:ext>
            </a:extLst>
          </p:cNvPr>
          <p:cNvSpPr/>
          <p:nvPr/>
        </p:nvSpPr>
        <p:spPr>
          <a:xfrm>
            <a:off x="10354792" y="302698"/>
            <a:ext cx="1428697" cy="5234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4" name="Logo HHN">
            <a:extLst>
              <a:ext uri="{FF2B5EF4-FFF2-40B4-BE49-F238E27FC236}">
                <a16:creationId xmlns:a16="http://schemas.microsoft.com/office/drawing/2014/main" id="{23CA9EA7-4051-429A-A6C8-9F5DD6BC65B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59514" y="307131"/>
            <a:ext cx="1423970" cy="4808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4554561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orient="horz" pos="1616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BR"/>
              <a:t>Headline einfügen</a:t>
            </a:r>
            <a:br>
              <a:rPr lang="pt-BR"/>
            </a:br>
            <a:r>
              <a:rPr lang="pt-BR"/>
              <a:t>über zwei Zeilen</a:t>
            </a:r>
            <a:endParaRPr lang="de-DE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5FA9BD1D-40AC-4766-9D87-7CD9F9338F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Oliver Daub Dennis Stehle und Robin Starkl | Pylint Workshop | WIN | WiSe 22/3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EB7C7B69-B03E-4D33-9FE9-AB156C53B1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/>
              <a:t>|  </a:t>
            </a:r>
            <a:fld id="{E6B5151A-17C4-4431-8407-112C0160A8B6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8BED4245-AA29-4F3E-BDEF-76A7E7D44AA1}"/>
              </a:ext>
            </a:extLst>
          </p:cNvPr>
          <p:cNvSpPr/>
          <p:nvPr/>
        </p:nvSpPr>
        <p:spPr>
          <a:xfrm>
            <a:off x="10354792" y="302698"/>
            <a:ext cx="1428697" cy="5234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6" name="Logo HHN">
            <a:extLst>
              <a:ext uri="{FF2B5EF4-FFF2-40B4-BE49-F238E27FC236}">
                <a16:creationId xmlns:a16="http://schemas.microsoft.com/office/drawing/2014/main" id="{237D685E-1336-4707-A792-39E407EB01B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59514" y="307131"/>
            <a:ext cx="1423970" cy="4808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1056684"/>
      </p:ext>
    </p:extLst>
  </p:cSld>
  <p:clrMapOvr>
    <a:masterClrMapping/>
  </p:clrMapOvr>
  <p:hf hd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chlus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Hintergrund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971552"/>
            <a:ext cx="12192000" cy="5886449"/>
          </a:xfrm>
          <a:prstGeom prst="rect">
            <a:avLst/>
          </a:prstGeom>
        </p:spPr>
      </p:pic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Oliver Daub Dennis Stehle und Robin Starkl | Pylint Workshop | WIN | WiSe 22/3</a:t>
            </a:r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|  </a:t>
            </a:r>
            <a:fld id="{E6B5151A-17C4-4431-8407-112C0160A8B6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3" name="Vertikaler Textplatzhalter 2"/>
          <p:cNvSpPr>
            <a:spLocks noGrp="1"/>
          </p:cNvSpPr>
          <p:nvPr>
            <p:ph type="body" orient="vert" idx="13" hasCustomPrompt="1"/>
          </p:nvPr>
        </p:nvSpPr>
        <p:spPr>
          <a:xfrm>
            <a:off x="2088000" y="4284000"/>
            <a:ext cx="9695489" cy="1959639"/>
          </a:xfrm>
        </p:spPr>
        <p:txBody>
          <a:bodyPr vert="horz"/>
          <a:lstStyle>
            <a:lvl1pPr marL="0" marR="0" indent="0" algn="l" defTabSz="914407" rtl="0" eaLnBrk="1" fontAlgn="auto" latinLnBrk="0" hangingPunct="1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999" b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5000"/>
              </a:lnSpc>
              <a:spcBef>
                <a:spcPts val="1250"/>
              </a:spcBef>
              <a:spcAft>
                <a:spcPts val="0"/>
              </a:spcAft>
              <a:buNone/>
              <a:defRPr sz="1999" b="1">
                <a:solidFill>
                  <a:schemeClr val="bg1"/>
                </a:solidFill>
                <a:latin typeface="+mj-lt"/>
              </a:defRPr>
            </a:lvl2pPr>
            <a:lvl3pPr marL="0" indent="0">
              <a:lnSpc>
                <a:spcPct val="105000"/>
              </a:lnSpc>
              <a:spcBef>
                <a:spcPts val="1250"/>
              </a:spcBef>
              <a:spcAft>
                <a:spcPts val="0"/>
              </a:spcAft>
              <a:buFont typeface="Arial" panose="020B0604020202020204" pitchFamily="34" charset="0"/>
              <a:buNone/>
              <a:defRPr sz="1999" b="1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105000"/>
              </a:lnSpc>
              <a:spcBef>
                <a:spcPts val="1250"/>
              </a:spcBef>
              <a:spcAft>
                <a:spcPts val="0"/>
              </a:spcAft>
              <a:buFont typeface="Arial" panose="020B0604020202020204" pitchFamily="34" charset="0"/>
              <a:buNone/>
              <a:defRPr sz="1999" b="1">
                <a:solidFill>
                  <a:schemeClr val="bg1"/>
                </a:solidFill>
                <a:latin typeface="+mj-lt"/>
              </a:defRPr>
            </a:lvl4pPr>
            <a:lvl5pPr marL="0" indent="0">
              <a:lnSpc>
                <a:spcPct val="105000"/>
              </a:lnSpc>
              <a:spcBef>
                <a:spcPts val="1250"/>
              </a:spcBef>
              <a:spcAft>
                <a:spcPts val="0"/>
              </a:spcAft>
              <a:buNone/>
              <a:defRPr sz="1999" b="1">
                <a:solidFill>
                  <a:schemeClr val="bg1"/>
                </a:solidFill>
                <a:latin typeface="+mj-lt"/>
              </a:defRPr>
            </a:lvl5pPr>
            <a:lvl6pPr marL="0" indent="0">
              <a:lnSpc>
                <a:spcPct val="105000"/>
              </a:lnSpc>
              <a:spcBef>
                <a:spcPts val="1250"/>
              </a:spcBef>
              <a:spcAft>
                <a:spcPts val="0"/>
              </a:spcAft>
              <a:buNone/>
              <a:defRPr sz="1999" b="1">
                <a:solidFill>
                  <a:schemeClr val="bg1"/>
                </a:solidFill>
                <a:latin typeface="+mj-lt"/>
              </a:defRPr>
            </a:lvl6pPr>
            <a:lvl7pPr marL="0" indent="0">
              <a:lnSpc>
                <a:spcPct val="105000"/>
              </a:lnSpc>
              <a:spcBef>
                <a:spcPts val="1250"/>
              </a:spcBef>
              <a:spcAft>
                <a:spcPts val="0"/>
              </a:spcAft>
              <a:buFont typeface="Arial" panose="020B0604020202020204" pitchFamily="34" charset="0"/>
              <a:buNone/>
              <a:defRPr sz="1999" b="1">
                <a:solidFill>
                  <a:schemeClr val="bg1"/>
                </a:solidFill>
                <a:latin typeface="+mj-lt"/>
              </a:defRPr>
            </a:lvl7pPr>
            <a:lvl8pPr marL="0" indent="0">
              <a:lnSpc>
                <a:spcPct val="105000"/>
              </a:lnSpc>
              <a:spcBef>
                <a:spcPts val="1250"/>
              </a:spcBef>
              <a:spcAft>
                <a:spcPts val="0"/>
              </a:spcAft>
              <a:buFont typeface="Arial" panose="020B0604020202020204" pitchFamily="34" charset="0"/>
              <a:buNone/>
              <a:defRPr sz="1999" b="1">
                <a:solidFill>
                  <a:schemeClr val="bg1"/>
                </a:solidFill>
                <a:latin typeface="+mj-lt"/>
              </a:defRPr>
            </a:lvl8pPr>
            <a:lvl9pPr marL="0" indent="0">
              <a:lnSpc>
                <a:spcPct val="105000"/>
              </a:lnSpc>
              <a:spcBef>
                <a:spcPts val="1250"/>
              </a:spcBef>
              <a:spcAft>
                <a:spcPts val="0"/>
              </a:spcAft>
              <a:buFont typeface="Arial" panose="020B0604020202020204" pitchFamily="34" charset="0"/>
              <a:buNone/>
              <a:defRPr sz="1999" b="1">
                <a:solidFill>
                  <a:schemeClr val="bg1"/>
                </a:solidFill>
                <a:latin typeface="+mj-lt"/>
              </a:defRPr>
            </a:lvl9pPr>
          </a:lstStyle>
          <a:p>
            <a:pPr marL="0" marR="0" lvl="0" indent="0" algn="l" defTabSz="914407" rtl="0" eaLnBrk="1" fontAlgn="auto" latinLnBrk="0" hangingPunct="1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/>
              <a:t>Bei Fragen kontaktieren Sie bitte:</a:t>
            </a:r>
            <a:br>
              <a:rPr lang="de-DE"/>
            </a:br>
            <a:r>
              <a:rPr lang="de-DE"/>
              <a:t>Vorname Nachname (Menü &gt; Listenebne erhöhen)</a:t>
            </a:r>
            <a:br>
              <a:rPr lang="de-DE"/>
            </a:br>
            <a:r>
              <a:rPr lang="de-DE"/>
              <a:t>Fakultät XY | Fachrichtung </a:t>
            </a:r>
            <a:br>
              <a:rPr lang="de-DE"/>
            </a:br>
            <a:r>
              <a:rPr lang="de-DE"/>
              <a:t>meike.muster@hs-heilbronn.de</a:t>
            </a:r>
          </a:p>
        </p:txBody>
      </p:sp>
      <p:sp>
        <p:nvSpPr>
          <p:cNvPr id="12" name="Vertikaler Textplatzhalter 2"/>
          <p:cNvSpPr>
            <a:spLocks noGrp="1"/>
          </p:cNvSpPr>
          <p:nvPr>
            <p:ph type="body" orient="vert" idx="14" hasCustomPrompt="1"/>
          </p:nvPr>
        </p:nvSpPr>
        <p:spPr>
          <a:xfrm>
            <a:off x="2087996" y="2097092"/>
            <a:ext cx="9695489" cy="1915337"/>
          </a:xfrm>
        </p:spPr>
        <p:txBody>
          <a:bodyPr vert="horz" anchor="ctr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5800" b="1" cap="all" spc="180" baseline="0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5800" b="1" cap="all" spc="300" baseline="0">
                <a:solidFill>
                  <a:schemeClr val="bg1"/>
                </a:solidFill>
                <a:latin typeface="+mj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5800" b="1" cap="all" spc="180" baseline="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5800" b="1" cap="all" spc="180" baseline="0">
                <a:solidFill>
                  <a:schemeClr val="bg1"/>
                </a:solidFill>
                <a:latin typeface="+mj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5800" b="1" cap="all" spc="180" baseline="0">
                <a:solidFill>
                  <a:schemeClr val="bg1"/>
                </a:solidFill>
                <a:latin typeface="+mj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5800" b="1" cap="all" spc="180" baseline="0">
                <a:solidFill>
                  <a:schemeClr val="bg1"/>
                </a:solidFill>
                <a:latin typeface="+mj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5800" b="1" cap="all" spc="180" baseline="0">
                <a:solidFill>
                  <a:schemeClr val="bg1"/>
                </a:solidFill>
                <a:latin typeface="+mj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5800" b="1" cap="all" spc="180" baseline="0">
                <a:solidFill>
                  <a:schemeClr val="bg1"/>
                </a:solidFill>
                <a:latin typeface="+mj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5800" b="1" cap="all" spc="180" baseline="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de-DE"/>
              <a:t>Schlusswort</a:t>
            </a:r>
          </a:p>
        </p:txBody>
      </p:sp>
      <p:sp>
        <p:nvSpPr>
          <p:cNvPr id="15" name="Bildplatzhalter 2">
            <a:extLst>
              <a:ext uri="{FF2B5EF4-FFF2-40B4-BE49-F238E27FC236}">
                <a16:creationId xmlns:a16="http://schemas.microsoft.com/office/drawing/2014/main" id="{BCE84AFA-A866-402D-A07B-4A22F5614A57}"/>
              </a:ext>
            </a:extLst>
          </p:cNvPr>
          <p:cNvSpPr>
            <a:spLocks noGrp="1"/>
          </p:cNvSpPr>
          <p:nvPr>
            <p:ph type="pic" idx="15" hasCustomPrompt="1"/>
          </p:nvPr>
        </p:nvSpPr>
        <p:spPr>
          <a:xfrm>
            <a:off x="576000" y="4716000"/>
            <a:ext cx="1080000" cy="1080000"/>
          </a:xfrm>
          <a:prstGeom prst="ellipse">
            <a:avLst/>
          </a:prstGeom>
          <a:noFill/>
        </p:spPr>
        <p:txBody>
          <a:bodyPr/>
          <a:lstStyle>
            <a:lvl1pPr marL="0" indent="0" algn="ctr"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/>
              <a:t>Bild einfügen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86942EBD-EC04-4F15-919B-415AF0B81870}"/>
              </a:ext>
            </a:extLst>
          </p:cNvPr>
          <p:cNvSpPr/>
          <p:nvPr/>
        </p:nvSpPr>
        <p:spPr>
          <a:xfrm>
            <a:off x="10354792" y="302698"/>
            <a:ext cx="1428697" cy="5234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0" name="Logo HHN">
            <a:extLst>
              <a:ext uri="{FF2B5EF4-FFF2-40B4-BE49-F238E27FC236}">
                <a16:creationId xmlns:a16="http://schemas.microsoft.com/office/drawing/2014/main" id="{4531A04C-B276-40B2-A4A3-385EFA23DED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59514" y="307131"/>
            <a:ext cx="1423970" cy="4808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3600669"/>
      </p:ext>
    </p:extLst>
  </p:cSld>
  <p:clrMapOvr>
    <a:masterClrMapping/>
  </p:clrMapOvr>
  <p:hf hd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2"/>
          <p:cNvSpPr>
            <a:spLocks noGrp="1"/>
          </p:cNvSpPr>
          <p:nvPr>
            <p:ph type="pic" idx="15" hasCustomPrompt="1"/>
          </p:nvPr>
        </p:nvSpPr>
        <p:spPr>
          <a:xfrm>
            <a:off x="0" y="1247779"/>
            <a:ext cx="12192000" cy="5610225"/>
          </a:xfrm>
          <a:noFill/>
        </p:spPr>
        <p:txBody>
          <a:bodyPr/>
          <a:lstStyle>
            <a:lvl1pPr marL="0" indent="0" algn="ctr">
              <a:buNone/>
              <a:defRPr sz="1999" b="1">
                <a:solidFill>
                  <a:schemeClr val="tx1"/>
                </a:solidFill>
                <a:latin typeface="+mj-lt"/>
              </a:defRPr>
            </a:lvl1pPr>
            <a:lvl2pPr marL="457203" indent="0">
              <a:buNone/>
              <a:defRPr sz="2800"/>
            </a:lvl2pPr>
            <a:lvl3pPr marL="914407" indent="0">
              <a:buNone/>
              <a:defRPr sz="2400"/>
            </a:lvl3pPr>
            <a:lvl4pPr marL="1371610" indent="0">
              <a:buNone/>
              <a:defRPr sz="1999"/>
            </a:lvl4pPr>
            <a:lvl5pPr marL="1828813" indent="0">
              <a:buNone/>
              <a:defRPr sz="1999"/>
            </a:lvl5pPr>
            <a:lvl6pPr marL="2286017" indent="0">
              <a:buNone/>
              <a:defRPr sz="1999"/>
            </a:lvl6pPr>
            <a:lvl7pPr marL="2743220" indent="0">
              <a:buNone/>
              <a:defRPr sz="1999"/>
            </a:lvl7pPr>
            <a:lvl8pPr marL="3200424" indent="0">
              <a:buNone/>
              <a:defRPr sz="1999"/>
            </a:lvl8pPr>
            <a:lvl9pPr marL="3657627" indent="0">
              <a:buNone/>
              <a:defRPr sz="1999"/>
            </a:lvl9pPr>
          </a:lstStyle>
          <a:p>
            <a:br>
              <a:rPr lang="de-DE"/>
            </a:br>
            <a:br>
              <a:rPr lang="de-DE"/>
            </a:br>
            <a:br>
              <a:rPr lang="de-DE"/>
            </a:br>
            <a:br>
              <a:rPr lang="de-DE"/>
            </a:br>
            <a:r>
              <a:rPr lang="de-DE"/>
              <a:t>Bild einfügen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0" y="4176717"/>
            <a:ext cx="12192000" cy="2681286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lIns="1386000" tIns="626400" rIns="612000" anchor="t" anchorCtr="0"/>
          <a:lstStyle>
            <a:lvl1pPr algn="l">
              <a:lnSpc>
                <a:spcPct val="82000"/>
              </a:lnSpc>
              <a:defRPr sz="5030" spc="20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Titel der Präsentation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1386000" y="6372000"/>
            <a:ext cx="10398013" cy="252000"/>
          </a:xfrm>
        </p:spPr>
        <p:txBody>
          <a:bodyPr/>
          <a:lstStyle>
            <a:lvl1pPr>
              <a:defRPr sz="1300" b="1" spc="6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de-DE"/>
              <a:t>Oliver Daub Dennis Stehle und Robin Starkl | Pylint Workshop | WIN | WiSe 22/3</a:t>
            </a:r>
          </a:p>
        </p:txBody>
      </p:sp>
      <p:grpSp>
        <p:nvGrpSpPr>
          <p:cNvPr id="27" name="Regieanweisungen"/>
          <p:cNvGrpSpPr/>
          <p:nvPr/>
        </p:nvGrpSpPr>
        <p:grpSpPr>
          <a:xfrm>
            <a:off x="406400" y="-468000"/>
            <a:ext cx="14521600" cy="7668001"/>
            <a:chOff x="304800" y="-468001"/>
            <a:chExt cx="10891200" cy="7668001"/>
          </a:xfrm>
        </p:grpSpPr>
        <p:sp>
          <p:nvSpPr>
            <p:cNvPr id="28" name="Hilfslinien"/>
            <p:cNvSpPr txBox="1"/>
            <p:nvPr userDrawn="1"/>
          </p:nvSpPr>
          <p:spPr>
            <a:xfrm rot="10800000" flipH="1" flipV="1">
              <a:off x="4571999" y="-468000"/>
              <a:ext cx="4265614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2871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ilfslinien anzeigen über Menu: </a:t>
              </a:r>
            </a:p>
            <a:p>
              <a:pPr marL="0" marR="0" lvl="0" indent="0" algn="r" defTabSz="2871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Anzeigen &gt; </a:t>
              </a:r>
              <a:r>
                <a:rPr kumimoji="0" lang="de-DE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</a:t>
              </a:r>
              <a:r>
                <a:rPr kumimoji="0" lang="de-DE" sz="10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r>
                <a:rPr kumimoji="0" lang="de-DE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bei</a:t>
              </a:r>
              <a:r>
                <a:rPr kumimoji="0" lang="de-DE" sz="10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Führungslinien </a:t>
              </a:r>
              <a:r>
                <a:rPr kumimoji="0" lang="de-DE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29" name="Zurücksetzen"/>
            <p:cNvSpPr txBox="1"/>
            <p:nvPr userDrawn="1"/>
          </p:nvSpPr>
          <p:spPr>
            <a:xfrm rot="10800000" flipH="1" flipV="1">
              <a:off x="9252000" y="-1"/>
              <a:ext cx="1944000" cy="898525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bringen über Menu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1" baseline="0">
                  <a:solidFill>
                    <a:schemeClr val="tx1"/>
                  </a:solidFill>
                  <a:latin typeface="+mn-lt"/>
                </a:rPr>
                <a:t>Start &gt; Folien &gt; Zurücksetzen</a:t>
              </a:r>
            </a:p>
          </p:txBody>
        </p:sp>
        <p:sp>
          <p:nvSpPr>
            <p:cNvPr id="30" name="Layoutwechsel"/>
            <p:cNvSpPr txBox="1"/>
            <p:nvPr userDrawn="1"/>
          </p:nvSpPr>
          <p:spPr>
            <a:xfrm rot="10800000" flipH="1" flipV="1">
              <a:off x="9252000" y="1008000"/>
              <a:ext cx="1944000" cy="504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Wechsel des Folienlayouts </a:t>
              </a:r>
              <a:br>
                <a:rPr lang="de-DE" sz="1000" b="0" baseline="0">
                  <a:solidFill>
                    <a:schemeClr val="tx1"/>
                  </a:solidFill>
                  <a:latin typeface="+mn-lt"/>
                </a:rPr>
              </a:b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im Menü über:</a:t>
              </a:r>
            </a:p>
            <a:p>
              <a:pPr marL="0" marR="0" lvl="0" indent="0" algn="l" defTabSz="251725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1" baseline="0">
                  <a:solidFill>
                    <a:schemeClr val="tx1"/>
                  </a:solidFill>
                  <a:latin typeface="+mn-lt"/>
                </a:rPr>
                <a:t>Start &gt; Folien &gt; Layout</a:t>
              </a:r>
            </a:p>
          </p:txBody>
        </p:sp>
        <p:sp>
          <p:nvSpPr>
            <p:cNvPr id="36" name="Fußzeile"/>
            <p:cNvSpPr txBox="1"/>
            <p:nvPr userDrawn="1"/>
          </p:nvSpPr>
          <p:spPr>
            <a:xfrm rot="10800000" flipH="1" flipV="1">
              <a:off x="304801" y="6984000"/>
              <a:ext cx="5531474" cy="216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Fußzeile anpassen: </a:t>
              </a:r>
              <a:r>
                <a:rPr lang="de-DE" sz="1000" b="1" baseline="0">
                  <a:solidFill>
                    <a:schemeClr val="tx1"/>
                  </a:solidFill>
                  <a:latin typeface="+mn-lt"/>
                </a:rPr>
                <a:t>Einfügen &gt; Text &gt; Kopf- und Fußzeile</a:t>
              </a:r>
            </a:p>
          </p:txBody>
        </p:sp>
        <p:sp>
          <p:nvSpPr>
            <p:cNvPr id="37" name="Kopfzeile"/>
            <p:cNvSpPr txBox="1"/>
            <p:nvPr userDrawn="1"/>
          </p:nvSpPr>
          <p:spPr>
            <a:xfrm rot="10800000" flipH="1" flipV="1">
              <a:off x="304800" y="-468001"/>
              <a:ext cx="4267199" cy="360002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Kopfzeile anpassen: </a:t>
              </a:r>
              <a:r>
                <a:rPr lang="de-DE" sz="1000" b="1" baseline="0">
                  <a:solidFill>
                    <a:schemeClr val="tx1"/>
                  </a:solidFill>
                  <a:latin typeface="+mn-lt"/>
                </a:rPr>
                <a:t>Einfügen &gt; Text &gt; Kopf- und Fußzeile</a:t>
              </a:r>
            </a:p>
          </p:txBody>
        </p:sp>
      </p:grpSp>
      <p:sp>
        <p:nvSpPr>
          <p:cNvPr id="18" name="Vertikaler Textplatzhalter 2">
            <a:extLst>
              <a:ext uri="{FF2B5EF4-FFF2-40B4-BE49-F238E27FC236}">
                <a16:creationId xmlns:a16="http://schemas.microsoft.com/office/drawing/2014/main" id="{1F5623E0-8437-4337-9981-520C5E63F5F5}"/>
              </a:ext>
            </a:extLst>
          </p:cNvPr>
          <p:cNvSpPr>
            <a:spLocks noGrp="1" noChangeAspect="1"/>
          </p:cNvSpPr>
          <p:nvPr>
            <p:ph type="body" orient="vert" idx="13" hasCustomPrompt="1"/>
          </p:nvPr>
        </p:nvSpPr>
        <p:spPr>
          <a:xfrm>
            <a:off x="1026073" y="4914407"/>
            <a:ext cx="180000" cy="288000"/>
          </a:xfr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vert="horz" wrap="none" rIns="2376000"/>
          <a:lstStyle>
            <a:lvl1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1" cap="all" baseline="0">
                <a:solidFill>
                  <a:schemeClr val="tx1"/>
                </a:solidFill>
                <a:latin typeface="+mj-lt"/>
              </a:defRPr>
            </a:lvl1pPr>
            <a:lvl2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1" cap="all">
                <a:solidFill>
                  <a:schemeClr val="tx1"/>
                </a:solidFill>
                <a:latin typeface="+mj-lt"/>
              </a:defRPr>
            </a:lvl2pPr>
            <a:lvl3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1" cap="all">
                <a:solidFill>
                  <a:schemeClr val="tx1"/>
                </a:solidFill>
                <a:latin typeface="+mj-lt"/>
              </a:defRPr>
            </a:lvl3pPr>
            <a:lvl4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1" cap="all">
                <a:solidFill>
                  <a:schemeClr val="tx1"/>
                </a:solidFill>
                <a:latin typeface="+mj-lt"/>
              </a:defRPr>
            </a:lvl4pPr>
            <a:lvl5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1" cap="all">
                <a:solidFill>
                  <a:schemeClr val="tx1"/>
                </a:solidFill>
                <a:latin typeface="+mj-lt"/>
              </a:defRPr>
            </a:lvl5pPr>
            <a:lvl6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1" cap="all">
                <a:solidFill>
                  <a:schemeClr val="tx1"/>
                </a:solidFill>
                <a:latin typeface="+mj-lt"/>
              </a:defRPr>
            </a:lvl6pPr>
            <a:lvl7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1" cap="all">
                <a:solidFill>
                  <a:schemeClr val="tx1"/>
                </a:solidFill>
                <a:latin typeface="+mj-lt"/>
              </a:defRPr>
            </a:lvl7pPr>
            <a:lvl8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1" cap="all">
                <a:solidFill>
                  <a:schemeClr val="tx1"/>
                </a:solidFill>
                <a:latin typeface="+mj-lt"/>
              </a:defRPr>
            </a:lvl8pPr>
            <a:lvl9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1" cap="all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Bitte nicht</a:t>
            </a:r>
            <a:br>
              <a:rPr lang="de-DE"/>
            </a:br>
            <a:r>
              <a:rPr lang="de-DE"/>
              <a:t>verschieben</a:t>
            </a:r>
          </a:p>
        </p:txBody>
      </p:sp>
      <p:sp>
        <p:nvSpPr>
          <p:cNvPr id="20" name="Foliennummernplatzhalter 10">
            <a:extLst>
              <a:ext uri="{FF2B5EF4-FFF2-40B4-BE49-F238E27FC236}">
                <a16:creationId xmlns:a16="http://schemas.microsoft.com/office/drawing/2014/main" id="{F1B52C2C-34E9-4D95-8194-0BDCF58A8AA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883778" y="6984000"/>
            <a:ext cx="1899711" cy="216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|  </a:t>
            </a:r>
            <a:fld id="{E6B5151A-17C4-4431-8407-112C0160A8B6}" type="slidenum">
              <a:rPr lang="de-DE" smtClean="0"/>
              <a:pPr/>
              <a:t>‹Nr.›</a:t>
            </a:fld>
            <a:endParaRPr lang="de-DE"/>
          </a:p>
        </p:txBody>
      </p:sp>
      <p:pic>
        <p:nvPicPr>
          <p:cNvPr id="13" name="Logo HHN">
            <a:extLst>
              <a:ext uri="{FF2B5EF4-FFF2-40B4-BE49-F238E27FC236}">
                <a16:creationId xmlns:a16="http://schemas.microsoft.com/office/drawing/2014/main" id="{672A705D-349D-42C3-A35B-92812267475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17084" y="305319"/>
            <a:ext cx="2066400" cy="6977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1409344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orient="horz" pos="2631">
          <p15:clr>
            <a:srgbClr val="FBAE40"/>
          </p15:clr>
        </p15:guide>
        <p15:guide id="2" orient="horz" pos="786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 mit Bild INSTITUTS-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2"/>
          <p:cNvSpPr>
            <a:spLocks noGrp="1"/>
          </p:cNvSpPr>
          <p:nvPr>
            <p:ph type="pic" idx="15" hasCustomPrompt="1"/>
          </p:nvPr>
        </p:nvSpPr>
        <p:spPr>
          <a:xfrm>
            <a:off x="0" y="1247779"/>
            <a:ext cx="12192000" cy="5610225"/>
          </a:xfrm>
          <a:noFill/>
        </p:spPr>
        <p:txBody>
          <a:bodyPr/>
          <a:lstStyle>
            <a:lvl1pPr marL="0" indent="0" algn="ctr">
              <a:buNone/>
              <a:defRPr sz="1999" b="1">
                <a:solidFill>
                  <a:schemeClr val="tx1"/>
                </a:solidFill>
                <a:latin typeface="+mj-lt"/>
              </a:defRPr>
            </a:lvl1pPr>
            <a:lvl2pPr marL="457203" indent="0">
              <a:buNone/>
              <a:defRPr sz="2800"/>
            </a:lvl2pPr>
            <a:lvl3pPr marL="914407" indent="0">
              <a:buNone/>
              <a:defRPr sz="2400"/>
            </a:lvl3pPr>
            <a:lvl4pPr marL="1371610" indent="0">
              <a:buNone/>
              <a:defRPr sz="1999"/>
            </a:lvl4pPr>
            <a:lvl5pPr marL="1828813" indent="0">
              <a:buNone/>
              <a:defRPr sz="1999"/>
            </a:lvl5pPr>
            <a:lvl6pPr marL="2286017" indent="0">
              <a:buNone/>
              <a:defRPr sz="1999"/>
            </a:lvl6pPr>
            <a:lvl7pPr marL="2743220" indent="0">
              <a:buNone/>
              <a:defRPr sz="1999"/>
            </a:lvl7pPr>
            <a:lvl8pPr marL="3200424" indent="0">
              <a:buNone/>
              <a:defRPr sz="1999"/>
            </a:lvl8pPr>
            <a:lvl9pPr marL="3657627" indent="0">
              <a:buNone/>
              <a:defRPr sz="1999"/>
            </a:lvl9pPr>
          </a:lstStyle>
          <a:p>
            <a:br>
              <a:rPr lang="de-DE"/>
            </a:br>
            <a:br>
              <a:rPr lang="de-DE"/>
            </a:br>
            <a:br>
              <a:rPr lang="de-DE"/>
            </a:br>
            <a:br>
              <a:rPr lang="de-DE"/>
            </a:br>
            <a:r>
              <a:rPr lang="de-DE"/>
              <a:t>Bild einfügen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0" y="4176717"/>
            <a:ext cx="12192000" cy="2681286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lIns="1386000" tIns="626400" rIns="612000" anchor="t" anchorCtr="0"/>
          <a:lstStyle>
            <a:lvl1pPr algn="l">
              <a:lnSpc>
                <a:spcPct val="82000"/>
              </a:lnSpc>
              <a:defRPr sz="5030" spc="20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Titel der Präsentatio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>
          <a:xfrm>
            <a:off x="406401" y="-359999"/>
            <a:ext cx="7375299" cy="252000"/>
          </a:xfrm>
          <a:prstGeom prst="rect">
            <a:avLst/>
          </a:prstGeom>
        </p:spPr>
        <p:txBody>
          <a:bodyPr/>
          <a:lstStyle>
            <a:lvl1pPr>
              <a:defRPr sz="1420" spc="60" baseline="0">
                <a:solidFill>
                  <a:schemeClr val="tx1"/>
                </a:solidFill>
              </a:defRPr>
            </a:lvl1pPr>
          </a:lstStyle>
          <a:p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1386000" y="6372000"/>
            <a:ext cx="10397484" cy="252000"/>
          </a:xfrm>
        </p:spPr>
        <p:txBody>
          <a:bodyPr/>
          <a:lstStyle>
            <a:lvl1pPr>
              <a:defRPr sz="1300" b="1" spc="6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de-DE"/>
              <a:t>Oliver Daub Dennis Stehle und Robin Starkl | Pylint Workshop | WIN | WiSe 22/3</a:t>
            </a:r>
          </a:p>
        </p:txBody>
      </p:sp>
      <p:grpSp>
        <p:nvGrpSpPr>
          <p:cNvPr id="27" name="Regieanweisungen"/>
          <p:cNvGrpSpPr/>
          <p:nvPr/>
        </p:nvGrpSpPr>
        <p:grpSpPr>
          <a:xfrm>
            <a:off x="406400" y="-468000"/>
            <a:ext cx="14521600" cy="7668001"/>
            <a:chOff x="304800" y="-468000"/>
            <a:chExt cx="10891200" cy="7668000"/>
          </a:xfrm>
        </p:grpSpPr>
        <p:sp>
          <p:nvSpPr>
            <p:cNvPr id="28" name="Hilfslinien"/>
            <p:cNvSpPr txBox="1"/>
            <p:nvPr userDrawn="1"/>
          </p:nvSpPr>
          <p:spPr>
            <a:xfrm rot="10800000" flipH="1" flipV="1">
              <a:off x="4571999" y="-468000"/>
              <a:ext cx="4265614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2871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ilfslinien anzeigen über Menu: </a:t>
              </a:r>
            </a:p>
            <a:p>
              <a:pPr marL="0" marR="0" lvl="0" indent="0" algn="r" defTabSz="2871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Anzeigen &gt; </a:t>
              </a:r>
              <a:r>
                <a:rPr kumimoji="0" lang="de-DE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</a:t>
              </a:r>
              <a:r>
                <a:rPr kumimoji="0" lang="de-DE" sz="10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r>
                <a:rPr kumimoji="0" lang="de-DE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bei</a:t>
              </a:r>
              <a:r>
                <a:rPr kumimoji="0" lang="de-DE" sz="10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Führungslinien </a:t>
              </a:r>
              <a:r>
                <a:rPr kumimoji="0" lang="de-DE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29" name="Zurücksetzen"/>
            <p:cNvSpPr txBox="1"/>
            <p:nvPr userDrawn="1"/>
          </p:nvSpPr>
          <p:spPr>
            <a:xfrm rot="10800000" flipH="1" flipV="1">
              <a:off x="9252000" y="-1"/>
              <a:ext cx="1944000" cy="898525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bringen über Menu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1" baseline="0">
                  <a:solidFill>
                    <a:schemeClr val="tx1"/>
                  </a:solidFill>
                  <a:latin typeface="+mn-lt"/>
                </a:rPr>
                <a:t>Start &gt; Folien &gt; Zurücksetzen</a:t>
              </a:r>
            </a:p>
          </p:txBody>
        </p:sp>
        <p:sp>
          <p:nvSpPr>
            <p:cNvPr id="30" name="Layoutwechsel"/>
            <p:cNvSpPr txBox="1"/>
            <p:nvPr userDrawn="1"/>
          </p:nvSpPr>
          <p:spPr>
            <a:xfrm rot="10800000" flipH="1" flipV="1">
              <a:off x="9252000" y="1008000"/>
              <a:ext cx="1944000" cy="504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Wechsel des Folienlayouts </a:t>
              </a:r>
              <a:br>
                <a:rPr lang="de-DE" sz="1000" b="0" baseline="0">
                  <a:solidFill>
                    <a:schemeClr val="tx1"/>
                  </a:solidFill>
                  <a:latin typeface="+mn-lt"/>
                </a:rPr>
              </a:b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im Menü über:</a:t>
              </a:r>
            </a:p>
            <a:p>
              <a:pPr marL="0" marR="0" lvl="0" indent="0" algn="l" defTabSz="251725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1" baseline="0">
                  <a:solidFill>
                    <a:schemeClr val="tx1"/>
                  </a:solidFill>
                  <a:latin typeface="+mn-lt"/>
                </a:rPr>
                <a:t>Start &gt; Folien &gt; Layout</a:t>
              </a:r>
            </a:p>
          </p:txBody>
        </p:sp>
        <p:sp>
          <p:nvSpPr>
            <p:cNvPr id="36" name="Fußzeile"/>
            <p:cNvSpPr txBox="1"/>
            <p:nvPr userDrawn="1"/>
          </p:nvSpPr>
          <p:spPr>
            <a:xfrm rot="10800000" flipH="1" flipV="1">
              <a:off x="304800" y="6984000"/>
              <a:ext cx="5531475" cy="216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Fußzeile anpassen: </a:t>
              </a:r>
              <a:r>
                <a:rPr lang="de-DE" sz="1000" b="1" baseline="0">
                  <a:solidFill>
                    <a:schemeClr val="tx1"/>
                  </a:solidFill>
                  <a:latin typeface="+mn-lt"/>
                </a:rPr>
                <a:t>Einfügen &gt; Text &gt; Kopf- und Fußzeile</a:t>
              </a:r>
            </a:p>
          </p:txBody>
        </p:sp>
      </p:grpSp>
      <p:sp>
        <p:nvSpPr>
          <p:cNvPr id="24" name="Vertikaler Textplatzhalter 2">
            <a:extLst>
              <a:ext uri="{FF2B5EF4-FFF2-40B4-BE49-F238E27FC236}">
                <a16:creationId xmlns:a16="http://schemas.microsoft.com/office/drawing/2014/main" id="{F57B46E9-4640-4F5B-9593-5773681046DA}"/>
              </a:ext>
            </a:extLst>
          </p:cNvPr>
          <p:cNvSpPr>
            <a:spLocks noGrp="1" noChangeAspect="1"/>
          </p:cNvSpPr>
          <p:nvPr>
            <p:ph type="body" orient="vert" idx="20" hasCustomPrompt="1"/>
          </p:nvPr>
        </p:nvSpPr>
        <p:spPr>
          <a:xfrm>
            <a:off x="1026000" y="4914406"/>
            <a:ext cx="180000" cy="288000"/>
          </a:xfr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vert="horz" wrap="none" rIns="2376000"/>
          <a:lstStyle>
            <a:lvl1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1" cap="all" baseline="0">
                <a:solidFill>
                  <a:schemeClr val="tx1"/>
                </a:solidFill>
                <a:latin typeface="+mj-lt"/>
              </a:defRPr>
            </a:lvl1pPr>
            <a:lvl2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1" cap="all">
                <a:solidFill>
                  <a:schemeClr val="tx1"/>
                </a:solidFill>
                <a:latin typeface="+mj-lt"/>
              </a:defRPr>
            </a:lvl2pPr>
            <a:lvl3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1" cap="all">
                <a:solidFill>
                  <a:schemeClr val="tx1"/>
                </a:solidFill>
                <a:latin typeface="+mj-lt"/>
              </a:defRPr>
            </a:lvl3pPr>
            <a:lvl4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1" cap="all">
                <a:solidFill>
                  <a:schemeClr val="tx1"/>
                </a:solidFill>
                <a:latin typeface="+mj-lt"/>
              </a:defRPr>
            </a:lvl4pPr>
            <a:lvl5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1" cap="all">
                <a:solidFill>
                  <a:schemeClr val="tx1"/>
                </a:solidFill>
                <a:latin typeface="+mj-lt"/>
              </a:defRPr>
            </a:lvl5pPr>
            <a:lvl6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1" cap="all">
                <a:solidFill>
                  <a:schemeClr val="tx1"/>
                </a:solidFill>
                <a:latin typeface="+mj-lt"/>
              </a:defRPr>
            </a:lvl6pPr>
            <a:lvl7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1" cap="all">
                <a:solidFill>
                  <a:schemeClr val="tx1"/>
                </a:solidFill>
                <a:latin typeface="+mj-lt"/>
              </a:defRPr>
            </a:lvl7pPr>
            <a:lvl8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1" cap="all">
                <a:solidFill>
                  <a:schemeClr val="tx1"/>
                </a:solidFill>
                <a:latin typeface="+mj-lt"/>
              </a:defRPr>
            </a:lvl8pPr>
            <a:lvl9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1" cap="all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Bitte nicht</a:t>
            </a:r>
            <a:br>
              <a:rPr lang="de-DE"/>
            </a:br>
            <a:r>
              <a:rPr lang="de-DE"/>
              <a:t>verschieben</a:t>
            </a:r>
          </a:p>
        </p:txBody>
      </p:sp>
      <p:sp>
        <p:nvSpPr>
          <p:cNvPr id="17" name="Inhaltsplatzhalter 2">
            <a:extLst>
              <a:ext uri="{FF2B5EF4-FFF2-40B4-BE49-F238E27FC236}">
                <a16:creationId xmlns:a16="http://schemas.microsoft.com/office/drawing/2014/main" id="{54A18A00-C4DE-4EFB-897C-5FA7DAA4A4DC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407200" y="305319"/>
            <a:ext cx="2088000" cy="6984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0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0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0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0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0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000" b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000" b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000" b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0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/>
              <a:t>PLATZHALTER INSTITUTS-LOGO über den Button Bild einfügen Logo laden </a:t>
            </a:r>
          </a:p>
        </p:txBody>
      </p:sp>
      <p:sp>
        <p:nvSpPr>
          <p:cNvPr id="18" name="Inhaltsplatzhalter 2">
            <a:extLst>
              <a:ext uri="{FF2B5EF4-FFF2-40B4-BE49-F238E27FC236}">
                <a16:creationId xmlns:a16="http://schemas.microsoft.com/office/drawing/2014/main" id="{4BA0EB51-026E-42B4-8C5C-5B7C35506F20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2622400" y="304709"/>
            <a:ext cx="2088000" cy="6984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0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0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0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0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0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000" b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000" b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000" b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0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/>
              <a:t>PLATZHALTER INSTITUTS-LOGO über den Button Bild einfügen Logo laden </a:t>
            </a:r>
          </a:p>
        </p:txBody>
      </p:sp>
      <p:sp>
        <p:nvSpPr>
          <p:cNvPr id="22" name="Foliennummernplatzhalter 10">
            <a:extLst>
              <a:ext uri="{FF2B5EF4-FFF2-40B4-BE49-F238E27FC236}">
                <a16:creationId xmlns:a16="http://schemas.microsoft.com/office/drawing/2014/main" id="{6548D90A-54FB-4C5B-81B4-F47C54D4DB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883778" y="6984000"/>
            <a:ext cx="1899711" cy="216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|  </a:t>
            </a:r>
            <a:fld id="{E6B5151A-17C4-4431-8407-112C0160A8B6}" type="slidenum">
              <a:rPr lang="de-DE" smtClean="0"/>
              <a:pPr/>
              <a:t>‹Nr.›</a:t>
            </a:fld>
            <a:endParaRPr lang="de-DE"/>
          </a:p>
        </p:txBody>
      </p:sp>
      <p:pic>
        <p:nvPicPr>
          <p:cNvPr id="15" name="Logo HHN">
            <a:extLst>
              <a:ext uri="{FF2B5EF4-FFF2-40B4-BE49-F238E27FC236}">
                <a16:creationId xmlns:a16="http://schemas.microsoft.com/office/drawing/2014/main" id="{75A4E1A0-2EF3-416F-9A9F-508385DA25A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17084" y="305319"/>
            <a:ext cx="2066400" cy="6977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4078173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orient="horz" pos="2631">
          <p15:clr>
            <a:srgbClr val="FBAE40"/>
          </p15:clr>
        </p15:guide>
        <p15:guide id="2" orient="horz" pos="786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Hintergrund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"/>
            <a:ext cx="12192000" cy="685800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727085" y="3768205"/>
            <a:ext cx="11056403" cy="1531425"/>
          </a:xfrm>
        </p:spPr>
        <p:txBody>
          <a:bodyPr anchor="t" anchorCtr="0"/>
          <a:lstStyle>
            <a:lvl1pPr algn="l">
              <a:lnSpc>
                <a:spcPct val="91000"/>
              </a:lnSpc>
              <a:defRPr sz="5201" spc="20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Titel der Präsentatio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>
          <a:xfrm>
            <a:off x="406401" y="260078"/>
            <a:ext cx="7375299" cy="252000"/>
          </a:xfrm>
          <a:prstGeom prst="rect">
            <a:avLst/>
          </a:prstGeom>
        </p:spPr>
        <p:txBody>
          <a:bodyPr/>
          <a:lstStyle>
            <a:lvl1pPr>
              <a:defRPr sz="1420" spc="60" baseline="0">
                <a:solidFill>
                  <a:schemeClr val="bg1"/>
                </a:solidFill>
              </a:defRPr>
            </a:lvl1pPr>
          </a:lstStyle>
          <a:p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727081" y="5399999"/>
            <a:ext cx="11056403" cy="288000"/>
          </a:xfrm>
        </p:spPr>
        <p:txBody>
          <a:bodyPr/>
          <a:lstStyle>
            <a:lvl1pPr>
              <a:defRPr sz="1500" b="1" spc="8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de-DE"/>
              <a:t>Oliver Daub Dennis Stehle und Robin Starkl | Pylint Workshop | WIN | WiSe 22/3</a:t>
            </a:r>
          </a:p>
        </p:txBody>
      </p:sp>
      <p:grpSp>
        <p:nvGrpSpPr>
          <p:cNvPr id="13" name="Regieanweisungen"/>
          <p:cNvGrpSpPr/>
          <p:nvPr/>
        </p:nvGrpSpPr>
        <p:grpSpPr>
          <a:xfrm>
            <a:off x="406400" y="-468000"/>
            <a:ext cx="14521600" cy="7668001"/>
            <a:chOff x="304800" y="-468001"/>
            <a:chExt cx="10891200" cy="7668001"/>
          </a:xfrm>
        </p:grpSpPr>
        <p:sp>
          <p:nvSpPr>
            <p:cNvPr id="14" name="Hilfslinien"/>
            <p:cNvSpPr txBox="1"/>
            <p:nvPr userDrawn="1"/>
          </p:nvSpPr>
          <p:spPr>
            <a:xfrm rot="10800000" flipH="1" flipV="1">
              <a:off x="4571999" y="-468000"/>
              <a:ext cx="4265614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2871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ilfslinien anzeigen über Menu: </a:t>
              </a:r>
            </a:p>
            <a:p>
              <a:pPr marL="0" marR="0" lvl="0" indent="0" algn="r" defTabSz="2871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Anzeigen &gt; </a:t>
              </a:r>
              <a:r>
                <a:rPr kumimoji="0" lang="de-DE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</a:t>
              </a:r>
              <a:r>
                <a:rPr kumimoji="0" lang="de-DE" sz="10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r>
                <a:rPr kumimoji="0" lang="de-DE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bei</a:t>
              </a:r>
              <a:r>
                <a:rPr kumimoji="0" lang="de-DE" sz="10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Führungslinien </a:t>
              </a:r>
              <a:r>
                <a:rPr kumimoji="0" lang="de-DE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15" name="Zurücksetzen"/>
            <p:cNvSpPr txBox="1"/>
            <p:nvPr userDrawn="1"/>
          </p:nvSpPr>
          <p:spPr>
            <a:xfrm rot="10800000" flipH="1" flipV="1">
              <a:off x="9252000" y="-1"/>
              <a:ext cx="1944000" cy="898525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bringen über Menu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1" baseline="0">
                  <a:solidFill>
                    <a:schemeClr val="tx1"/>
                  </a:solidFill>
                  <a:latin typeface="+mn-lt"/>
                </a:rPr>
                <a:t>Start &gt; Folien &gt; Zurücksetzen</a:t>
              </a:r>
            </a:p>
          </p:txBody>
        </p:sp>
        <p:sp>
          <p:nvSpPr>
            <p:cNvPr id="16" name="Layoutwechsel"/>
            <p:cNvSpPr txBox="1"/>
            <p:nvPr userDrawn="1"/>
          </p:nvSpPr>
          <p:spPr>
            <a:xfrm rot="10800000" flipH="1" flipV="1">
              <a:off x="9252000" y="1008000"/>
              <a:ext cx="1944000" cy="504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Wechsel des Folienlayouts </a:t>
              </a:r>
              <a:br>
                <a:rPr lang="de-DE" sz="1000" b="0" baseline="0">
                  <a:solidFill>
                    <a:schemeClr val="tx1"/>
                  </a:solidFill>
                  <a:latin typeface="+mn-lt"/>
                </a:rPr>
              </a:b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im Menü über:</a:t>
              </a:r>
            </a:p>
            <a:p>
              <a:pPr marL="0" marR="0" lvl="0" indent="0" algn="l" defTabSz="251725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1" baseline="0">
                  <a:solidFill>
                    <a:schemeClr val="tx1"/>
                  </a:solidFill>
                  <a:latin typeface="+mn-lt"/>
                </a:rPr>
                <a:t>Start &gt; Folien &gt; Layout</a:t>
              </a:r>
            </a:p>
          </p:txBody>
        </p:sp>
        <p:sp>
          <p:nvSpPr>
            <p:cNvPr id="17" name="Fußzeile"/>
            <p:cNvSpPr txBox="1"/>
            <p:nvPr userDrawn="1"/>
          </p:nvSpPr>
          <p:spPr>
            <a:xfrm rot="10800000" flipH="1" flipV="1">
              <a:off x="304801" y="6984000"/>
              <a:ext cx="5531474" cy="216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Fußzeile anpassen: </a:t>
              </a:r>
              <a:r>
                <a:rPr lang="de-DE" sz="1000" b="1" baseline="0">
                  <a:solidFill>
                    <a:schemeClr val="tx1"/>
                  </a:solidFill>
                  <a:latin typeface="+mn-lt"/>
                </a:rPr>
                <a:t>Einfügen &gt; Text &gt; Kopf- und Fußzeile</a:t>
              </a:r>
            </a:p>
          </p:txBody>
        </p:sp>
        <p:sp>
          <p:nvSpPr>
            <p:cNvPr id="18" name="Kopfzeile"/>
            <p:cNvSpPr txBox="1"/>
            <p:nvPr userDrawn="1"/>
          </p:nvSpPr>
          <p:spPr>
            <a:xfrm rot="10800000" flipH="1" flipV="1">
              <a:off x="304800" y="-468001"/>
              <a:ext cx="4267199" cy="360002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Kopfzeile anpassen: </a:t>
              </a:r>
              <a:r>
                <a:rPr lang="de-DE" sz="1000" b="1" baseline="0">
                  <a:solidFill>
                    <a:schemeClr val="tx1"/>
                  </a:solidFill>
                  <a:latin typeface="+mn-lt"/>
                </a:rPr>
                <a:t>Einfügen &gt; Text &gt; Kopf- und Fußzeile</a:t>
              </a:r>
            </a:p>
          </p:txBody>
        </p:sp>
      </p:grpSp>
      <p:pic>
        <p:nvPicPr>
          <p:cNvPr id="21" name="Pfeil">
            <a:extLst>
              <a:ext uri="{FF2B5EF4-FFF2-40B4-BE49-F238E27FC236}">
                <a16:creationId xmlns:a16="http://schemas.microsoft.com/office/drawing/2014/main" id="{9B7553C5-A51D-4F5E-A635-F506117CD78D}"/>
              </a:ext>
            </a:extLst>
          </p:cNvPr>
          <p:cNvPicPr preferRelativeResize="0">
            <a:picLocks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6800" y="3943332"/>
            <a:ext cx="180000" cy="288000"/>
          </a:xfrm>
          <a:prstGeom prst="rect">
            <a:avLst/>
          </a:prstGeom>
        </p:spPr>
      </p:pic>
      <p:sp>
        <p:nvSpPr>
          <p:cNvPr id="23" name="Foliennummernplatzhalter 10">
            <a:extLst>
              <a:ext uri="{FF2B5EF4-FFF2-40B4-BE49-F238E27FC236}">
                <a16:creationId xmlns:a16="http://schemas.microsoft.com/office/drawing/2014/main" id="{24F3020E-5E4D-4241-944A-A34A6AA4C9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883778" y="6984000"/>
            <a:ext cx="1899711" cy="216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|  </a:t>
            </a:r>
            <a:fld id="{E6B5151A-17C4-4431-8407-112C0160A8B6}" type="slidenum">
              <a:rPr lang="de-DE" smtClean="0"/>
              <a:pPr/>
              <a:t>‹Nr.›</a:t>
            </a:fld>
            <a:endParaRPr lang="de-DE"/>
          </a:p>
        </p:txBody>
      </p:sp>
      <p:pic>
        <p:nvPicPr>
          <p:cNvPr id="19" name="Logo HHN">
            <a:extLst>
              <a:ext uri="{FF2B5EF4-FFF2-40B4-BE49-F238E27FC236}">
                <a16:creationId xmlns:a16="http://schemas.microsoft.com/office/drawing/2014/main" id="{81DBA1E9-CAA3-4B3C-A53B-EC337BD67EC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18874" y="305319"/>
            <a:ext cx="2064615" cy="6971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3917246"/>
      </p:ext>
    </p:extLst>
  </p:cSld>
  <p:clrMapOvr>
    <a:masterClrMapping/>
  </p:clrMapOvr>
  <p:hf hd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Hintergrund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971552"/>
            <a:ext cx="12192000" cy="5886449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1530728" y="2160001"/>
            <a:ext cx="10252761" cy="1531425"/>
          </a:xfrm>
        </p:spPr>
        <p:txBody>
          <a:bodyPr anchor="t" anchorCtr="0"/>
          <a:lstStyle>
            <a:lvl1pPr algn="l">
              <a:lnSpc>
                <a:spcPct val="100000"/>
              </a:lnSpc>
              <a:defRPr sz="4800" spc="20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ZWISCHENTITEL TRENNERSEITE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>
          <a:xfrm>
            <a:off x="406401" y="274365"/>
            <a:ext cx="7375299" cy="216000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Oliver Daub Dennis Stehle und Robin Starkl | Pylint Workshop | WIN | WiSe 22/3</a:t>
            </a:r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|  </a:t>
            </a:r>
            <a:fld id="{E6B5151A-17C4-4431-8407-112C0160A8B6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3" name="Vertikaler Textplatzhalter 2"/>
          <p:cNvSpPr>
            <a:spLocks noGrp="1"/>
          </p:cNvSpPr>
          <p:nvPr>
            <p:ph type="body" orient="vert" idx="13" hasCustomPrompt="1"/>
          </p:nvPr>
        </p:nvSpPr>
        <p:spPr>
          <a:xfrm>
            <a:off x="1530728" y="3905249"/>
            <a:ext cx="10252761" cy="2338391"/>
          </a:xfrm>
        </p:spPr>
        <p:txBody>
          <a:bodyPr vert="horz"/>
          <a:lstStyle>
            <a:lvl1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999" b="1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None/>
              <a:defRPr sz="1999" b="1">
                <a:solidFill>
                  <a:schemeClr val="bg1"/>
                </a:solidFill>
                <a:latin typeface="+mj-lt"/>
              </a:defRPr>
            </a:lvl2pPr>
            <a:lvl3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999" b="1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999" b="1">
                <a:solidFill>
                  <a:schemeClr val="bg1"/>
                </a:solidFill>
                <a:latin typeface="+mj-lt"/>
              </a:defRPr>
            </a:lvl4pPr>
            <a:lvl5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None/>
              <a:defRPr sz="1999" b="1">
                <a:solidFill>
                  <a:schemeClr val="bg1"/>
                </a:solidFill>
                <a:latin typeface="+mj-lt"/>
              </a:defRPr>
            </a:lvl5pPr>
            <a:lvl6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None/>
              <a:defRPr sz="1999" b="1">
                <a:solidFill>
                  <a:schemeClr val="bg1"/>
                </a:solidFill>
                <a:latin typeface="+mj-lt"/>
              </a:defRPr>
            </a:lvl6pPr>
            <a:lvl7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999" b="1">
                <a:solidFill>
                  <a:schemeClr val="bg1"/>
                </a:solidFill>
                <a:latin typeface="+mj-lt"/>
              </a:defRPr>
            </a:lvl7pPr>
            <a:lvl8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999" b="1">
                <a:solidFill>
                  <a:schemeClr val="bg1"/>
                </a:solidFill>
                <a:latin typeface="+mj-lt"/>
              </a:defRPr>
            </a:lvl8pPr>
            <a:lvl9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999" b="1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de-DE"/>
              <a:t>Zusatz Info</a:t>
            </a:r>
          </a:p>
        </p:txBody>
      </p:sp>
      <p:grpSp>
        <p:nvGrpSpPr>
          <p:cNvPr id="14" name="Regieanweisungen"/>
          <p:cNvGrpSpPr/>
          <p:nvPr/>
        </p:nvGrpSpPr>
        <p:grpSpPr>
          <a:xfrm>
            <a:off x="406400" y="-468000"/>
            <a:ext cx="14521600" cy="7668001"/>
            <a:chOff x="304800" y="-468001"/>
            <a:chExt cx="10891200" cy="7668001"/>
          </a:xfrm>
        </p:grpSpPr>
        <p:sp>
          <p:nvSpPr>
            <p:cNvPr id="15" name="Hilfslinien"/>
            <p:cNvSpPr txBox="1"/>
            <p:nvPr userDrawn="1"/>
          </p:nvSpPr>
          <p:spPr>
            <a:xfrm rot="10800000" flipH="1" flipV="1">
              <a:off x="4571999" y="-468000"/>
              <a:ext cx="4265614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2871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ilfslinien anzeigen über Menu: </a:t>
              </a:r>
            </a:p>
            <a:p>
              <a:pPr marL="0" marR="0" lvl="0" indent="0" algn="r" defTabSz="2871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Anzeigen &gt; </a:t>
              </a:r>
              <a:r>
                <a:rPr kumimoji="0" lang="de-DE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</a:t>
              </a:r>
              <a:r>
                <a:rPr kumimoji="0" lang="de-DE" sz="10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r>
                <a:rPr kumimoji="0" lang="de-DE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bei</a:t>
              </a:r>
              <a:r>
                <a:rPr kumimoji="0" lang="de-DE" sz="10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Führungslinien </a:t>
              </a:r>
              <a:r>
                <a:rPr kumimoji="0" lang="de-DE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16" name="Zurücksetzen"/>
            <p:cNvSpPr txBox="1"/>
            <p:nvPr userDrawn="1"/>
          </p:nvSpPr>
          <p:spPr>
            <a:xfrm rot="10800000" flipH="1" flipV="1">
              <a:off x="9252000" y="-1"/>
              <a:ext cx="1944000" cy="898525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bringen über Menu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1" baseline="0">
                  <a:solidFill>
                    <a:schemeClr val="tx1"/>
                  </a:solidFill>
                  <a:latin typeface="+mn-lt"/>
                </a:rPr>
                <a:t>Start &gt; Folien &gt; Zurücksetzen</a:t>
              </a:r>
            </a:p>
          </p:txBody>
        </p:sp>
        <p:sp>
          <p:nvSpPr>
            <p:cNvPr id="17" name="Layoutwechsel"/>
            <p:cNvSpPr txBox="1"/>
            <p:nvPr userDrawn="1"/>
          </p:nvSpPr>
          <p:spPr>
            <a:xfrm rot="10800000" flipH="1" flipV="1">
              <a:off x="9252000" y="1008000"/>
              <a:ext cx="1944000" cy="504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Wechsel des Folienlayouts </a:t>
              </a:r>
              <a:br>
                <a:rPr lang="de-DE" sz="1000" b="0" baseline="0">
                  <a:solidFill>
                    <a:schemeClr val="tx1"/>
                  </a:solidFill>
                  <a:latin typeface="+mn-lt"/>
                </a:rPr>
              </a:b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im Menü über:</a:t>
              </a:r>
            </a:p>
            <a:p>
              <a:pPr marL="0" marR="0" lvl="0" indent="0" algn="l" defTabSz="251725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1" baseline="0">
                  <a:solidFill>
                    <a:schemeClr val="tx1"/>
                  </a:solidFill>
                  <a:latin typeface="+mn-lt"/>
                </a:rPr>
                <a:t>Start &gt; Folien &gt; Layout</a:t>
              </a:r>
            </a:p>
          </p:txBody>
        </p:sp>
        <p:sp>
          <p:nvSpPr>
            <p:cNvPr id="18" name="Fußzeile"/>
            <p:cNvSpPr txBox="1"/>
            <p:nvPr userDrawn="1"/>
          </p:nvSpPr>
          <p:spPr>
            <a:xfrm rot="10800000" flipH="1" flipV="1">
              <a:off x="304801" y="6984000"/>
              <a:ext cx="5531474" cy="216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Fußzeile anpassen: </a:t>
              </a:r>
              <a:r>
                <a:rPr lang="de-DE" sz="1000" b="1" baseline="0">
                  <a:solidFill>
                    <a:schemeClr val="tx1"/>
                  </a:solidFill>
                  <a:latin typeface="+mn-lt"/>
                </a:rPr>
                <a:t>Einfügen &gt; Text &gt; Kopf- und Fußzeile</a:t>
              </a:r>
            </a:p>
          </p:txBody>
        </p:sp>
        <p:sp>
          <p:nvSpPr>
            <p:cNvPr id="19" name="Kopfzeile"/>
            <p:cNvSpPr txBox="1"/>
            <p:nvPr userDrawn="1"/>
          </p:nvSpPr>
          <p:spPr>
            <a:xfrm rot="10800000" flipH="1" flipV="1">
              <a:off x="304800" y="-468001"/>
              <a:ext cx="4267199" cy="360002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Kopfzeile anpassen: </a:t>
              </a:r>
              <a:r>
                <a:rPr lang="de-DE" sz="1000" b="1" baseline="0">
                  <a:solidFill>
                    <a:schemeClr val="tx1"/>
                  </a:solidFill>
                  <a:latin typeface="+mn-lt"/>
                </a:rPr>
                <a:t>Einfügen &gt; Text &gt; Kopf- und Fußzeile</a:t>
              </a:r>
            </a:p>
          </p:txBody>
        </p:sp>
      </p:grpSp>
      <p:pic>
        <p:nvPicPr>
          <p:cNvPr id="23" name="Pfeil">
            <a:extLst>
              <a:ext uri="{FF2B5EF4-FFF2-40B4-BE49-F238E27FC236}">
                <a16:creationId xmlns:a16="http://schemas.microsoft.com/office/drawing/2014/main" id="{BDD3B1C6-5D65-4396-8DAA-35F5FC78C81C}"/>
              </a:ext>
            </a:extLst>
          </p:cNvPr>
          <p:cNvPicPr preferRelativeResize="0">
            <a:picLocks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06000" y="2376000"/>
            <a:ext cx="180000" cy="288000"/>
          </a:xfrm>
          <a:prstGeom prst="rect">
            <a:avLst/>
          </a:prstGeom>
        </p:spPr>
      </p:pic>
      <p:pic>
        <p:nvPicPr>
          <p:cNvPr id="20" name="Logo HHN">
            <a:extLst>
              <a:ext uri="{FF2B5EF4-FFF2-40B4-BE49-F238E27FC236}">
                <a16:creationId xmlns:a16="http://schemas.microsoft.com/office/drawing/2014/main" id="{73C7AD70-305F-4D7A-A7AA-2C88F12B100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59514" y="307131"/>
            <a:ext cx="1423970" cy="4808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5300975"/>
      </p:ext>
    </p:extLst>
  </p:cSld>
  <p:clrMapOvr>
    <a:masterClrMapping/>
  </p:clrMapOvr>
  <p:hf hd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adline //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>
          <a:xfrm>
            <a:off x="406401" y="274365"/>
            <a:ext cx="7375299" cy="216000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Oliver Daub Dennis Stehle und Robin Starkl | Pylint Workshop | WIN | WiSe 22/3</a:t>
            </a: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/>
              <a:t>|  </a:t>
            </a:r>
            <a:fld id="{E6B5151A-17C4-4431-8407-112C0160A8B6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0" name="Titel 9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BR"/>
              <a:t>Headline einfügen</a:t>
            </a:r>
            <a:br>
              <a:rPr lang="pt-BR"/>
            </a:br>
            <a:r>
              <a:rPr lang="pt-BR"/>
              <a:t>über zwei Zeilen</a:t>
            </a:r>
            <a:endParaRPr lang="de-DE"/>
          </a:p>
        </p:txBody>
      </p:sp>
      <p:sp>
        <p:nvSpPr>
          <p:cNvPr id="11" name="Inhaltsplatzhalter 2">
            <a:extLst>
              <a:ext uri="{FF2B5EF4-FFF2-40B4-BE49-F238E27FC236}">
                <a16:creationId xmlns:a16="http://schemas.microsoft.com/office/drawing/2014/main" id="{0B166E63-50B0-4138-AD32-6428E7F6058D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6405" y="2033591"/>
            <a:ext cx="11377084" cy="4210049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de-DE"/>
              <a:t>Text 22 Pt auf erster Ebene // für Aufzählung 22 Pt,  Text 20 Pt, Zwischenheadline und Aufzählungen 20 Pt &gt;&gt; Menü &gt; Start &gt; Absatz &gt; Listenebne erhöhen 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D152E23D-C811-4B6A-967C-C5BF5CEE798D}"/>
              </a:ext>
            </a:extLst>
          </p:cNvPr>
          <p:cNvSpPr/>
          <p:nvPr/>
        </p:nvSpPr>
        <p:spPr>
          <a:xfrm>
            <a:off x="10354792" y="302698"/>
            <a:ext cx="1428697" cy="5234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3" name="Logo HHN">
            <a:extLst>
              <a:ext uri="{FF2B5EF4-FFF2-40B4-BE49-F238E27FC236}">
                <a16:creationId xmlns:a16="http://schemas.microsoft.com/office/drawing/2014/main" id="{B89692BA-C48D-429E-BB9A-E2A04EA6B00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59514" y="307131"/>
            <a:ext cx="1423970" cy="4808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3152152"/>
      </p:ext>
    </p:extLst>
  </p:cSld>
  <p:clrMapOvr>
    <a:masterClrMapping/>
  </p:clrMapOvr>
  <p:hf hd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adline // Inhalt // 3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>
          <a:xfrm>
            <a:off x="406401" y="274365"/>
            <a:ext cx="7375299" cy="216000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Oliver Daub Dennis Stehle und Robin Starkl | Pylint Workshop | WIN | WiSe 22/3</a:t>
            </a: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/>
              <a:t>|  </a:t>
            </a:r>
            <a:fld id="{E6B5151A-17C4-4431-8407-112C0160A8B6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0" name="Titel 9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BR"/>
              <a:t>Headline einfügen</a:t>
            </a:r>
            <a:br>
              <a:rPr lang="pt-BR"/>
            </a:br>
            <a:r>
              <a:rPr lang="pt-BR"/>
              <a:t>über zwei Zeilen</a:t>
            </a:r>
            <a:endParaRPr lang="de-DE"/>
          </a:p>
        </p:txBody>
      </p:sp>
      <p:sp>
        <p:nvSpPr>
          <p:cNvPr id="11" name="Vertikaler Textplatzhalter 2"/>
          <p:cNvSpPr>
            <a:spLocks noGrp="1"/>
          </p:cNvSpPr>
          <p:nvPr>
            <p:ph type="body" orient="vert" idx="13" hasCustomPrompt="1"/>
          </p:nvPr>
        </p:nvSpPr>
        <p:spPr>
          <a:xfrm>
            <a:off x="406405" y="2033701"/>
            <a:ext cx="11377084" cy="2231887"/>
          </a:xfrm>
        </p:spPr>
        <p:txBody>
          <a:bodyPr vert="horz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de-DE"/>
              <a:t>Text 22 Pt auf erster Ebene // für Aufzählung 22 Pt,  Text 20 Pt, Zwischenheadline und Aufzählungen 20 Pt &gt;&gt; Menü &gt; Start &gt; Absatz &gt; Listenebne erhöhen 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15" name="Bildplatzhalter 2"/>
          <p:cNvSpPr>
            <a:spLocks noGrp="1"/>
          </p:cNvSpPr>
          <p:nvPr>
            <p:ph type="pic" idx="1" hasCustomPrompt="1"/>
          </p:nvPr>
        </p:nvSpPr>
        <p:spPr>
          <a:xfrm>
            <a:off x="406400" y="4361763"/>
            <a:ext cx="3658080" cy="1881877"/>
          </a:xfrm>
        </p:spPr>
        <p:txBody>
          <a:bodyPr/>
          <a:lstStyle>
            <a:lvl1pPr marL="0" indent="0" algn="ctr">
              <a:spcAft>
                <a:spcPts val="0"/>
              </a:spcAft>
              <a:buNone/>
              <a:defRPr sz="1999"/>
            </a:lvl1pPr>
            <a:lvl2pPr marL="457203" indent="0">
              <a:buNone/>
              <a:defRPr sz="2800"/>
            </a:lvl2pPr>
            <a:lvl3pPr marL="914407" indent="0">
              <a:buNone/>
              <a:defRPr sz="2400"/>
            </a:lvl3pPr>
            <a:lvl4pPr marL="1371610" indent="0">
              <a:buNone/>
              <a:defRPr sz="1999"/>
            </a:lvl4pPr>
            <a:lvl5pPr marL="1828813" indent="0">
              <a:buNone/>
              <a:defRPr sz="1999"/>
            </a:lvl5pPr>
            <a:lvl6pPr marL="2286017" indent="0">
              <a:buNone/>
              <a:defRPr sz="1999"/>
            </a:lvl6pPr>
            <a:lvl7pPr marL="2743220" indent="0">
              <a:buNone/>
              <a:defRPr sz="1999"/>
            </a:lvl7pPr>
            <a:lvl8pPr marL="3200424" indent="0">
              <a:buNone/>
              <a:defRPr sz="1999"/>
            </a:lvl8pPr>
            <a:lvl9pPr marL="3657627" indent="0">
              <a:buNone/>
              <a:defRPr sz="1999"/>
            </a:lvl9pPr>
          </a:lstStyle>
          <a:p>
            <a:br>
              <a:rPr lang="de-DE"/>
            </a:br>
            <a:r>
              <a:rPr lang="de-DE"/>
              <a:t>Bild einfügen</a:t>
            </a:r>
          </a:p>
        </p:txBody>
      </p:sp>
      <p:sp>
        <p:nvSpPr>
          <p:cNvPr id="16" name="Bildplatzhalter 2"/>
          <p:cNvSpPr>
            <a:spLocks noGrp="1"/>
          </p:cNvSpPr>
          <p:nvPr>
            <p:ph type="pic" idx="14" hasCustomPrompt="1"/>
          </p:nvPr>
        </p:nvSpPr>
        <p:spPr>
          <a:xfrm>
            <a:off x="4265901" y="4361763"/>
            <a:ext cx="3658080" cy="1881877"/>
          </a:xfrm>
        </p:spPr>
        <p:txBody>
          <a:bodyPr/>
          <a:lstStyle>
            <a:lvl1pPr marL="0" indent="0" algn="ctr">
              <a:spcAft>
                <a:spcPts val="0"/>
              </a:spcAft>
              <a:buNone/>
              <a:defRPr sz="1999"/>
            </a:lvl1pPr>
            <a:lvl2pPr marL="457203" indent="0">
              <a:buNone/>
              <a:defRPr sz="2800"/>
            </a:lvl2pPr>
            <a:lvl3pPr marL="914407" indent="0">
              <a:buNone/>
              <a:defRPr sz="2400"/>
            </a:lvl3pPr>
            <a:lvl4pPr marL="1371610" indent="0">
              <a:buNone/>
              <a:defRPr sz="1999"/>
            </a:lvl4pPr>
            <a:lvl5pPr marL="1828813" indent="0">
              <a:buNone/>
              <a:defRPr sz="1999"/>
            </a:lvl5pPr>
            <a:lvl6pPr marL="2286017" indent="0">
              <a:buNone/>
              <a:defRPr sz="1999"/>
            </a:lvl6pPr>
            <a:lvl7pPr marL="2743220" indent="0">
              <a:buNone/>
              <a:defRPr sz="1999"/>
            </a:lvl7pPr>
            <a:lvl8pPr marL="3200424" indent="0">
              <a:buNone/>
              <a:defRPr sz="1999"/>
            </a:lvl8pPr>
            <a:lvl9pPr marL="3657627" indent="0">
              <a:buNone/>
              <a:defRPr sz="1999"/>
            </a:lvl9pPr>
          </a:lstStyle>
          <a:p>
            <a:br>
              <a:rPr lang="de-DE"/>
            </a:br>
            <a:r>
              <a:rPr lang="de-DE"/>
              <a:t>Bild einfügen</a:t>
            </a:r>
          </a:p>
        </p:txBody>
      </p:sp>
      <p:sp>
        <p:nvSpPr>
          <p:cNvPr id="17" name="Bildplatzhalter 2"/>
          <p:cNvSpPr>
            <a:spLocks noGrp="1"/>
          </p:cNvSpPr>
          <p:nvPr>
            <p:ph type="pic" idx="15" hasCustomPrompt="1"/>
          </p:nvPr>
        </p:nvSpPr>
        <p:spPr>
          <a:xfrm>
            <a:off x="8125404" y="4361763"/>
            <a:ext cx="3658080" cy="1881877"/>
          </a:xfrm>
        </p:spPr>
        <p:txBody>
          <a:bodyPr/>
          <a:lstStyle>
            <a:lvl1pPr marL="0" indent="0" algn="ctr">
              <a:spcAft>
                <a:spcPts val="0"/>
              </a:spcAft>
              <a:buNone/>
              <a:defRPr sz="1999"/>
            </a:lvl1pPr>
            <a:lvl2pPr marL="457203" indent="0">
              <a:buNone/>
              <a:defRPr sz="2800"/>
            </a:lvl2pPr>
            <a:lvl3pPr marL="914407" indent="0">
              <a:buNone/>
              <a:defRPr sz="2400"/>
            </a:lvl3pPr>
            <a:lvl4pPr marL="1371610" indent="0">
              <a:buNone/>
              <a:defRPr sz="1999"/>
            </a:lvl4pPr>
            <a:lvl5pPr marL="1828813" indent="0">
              <a:buNone/>
              <a:defRPr sz="1999"/>
            </a:lvl5pPr>
            <a:lvl6pPr marL="2286017" indent="0">
              <a:buNone/>
              <a:defRPr sz="1999"/>
            </a:lvl6pPr>
            <a:lvl7pPr marL="2743220" indent="0">
              <a:buNone/>
              <a:defRPr sz="1999"/>
            </a:lvl7pPr>
            <a:lvl8pPr marL="3200424" indent="0">
              <a:buNone/>
              <a:defRPr sz="1999"/>
            </a:lvl8pPr>
            <a:lvl9pPr marL="3657627" indent="0">
              <a:buNone/>
              <a:defRPr sz="1999"/>
            </a:lvl9pPr>
          </a:lstStyle>
          <a:p>
            <a:br>
              <a:rPr lang="de-DE"/>
            </a:br>
            <a:r>
              <a:rPr lang="de-DE"/>
              <a:t>Bild einfügen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DBC10B66-1DA6-4F35-975A-B2A319AA7514}"/>
              </a:ext>
            </a:extLst>
          </p:cNvPr>
          <p:cNvSpPr/>
          <p:nvPr/>
        </p:nvSpPr>
        <p:spPr>
          <a:xfrm>
            <a:off x="10354792" y="302698"/>
            <a:ext cx="1428697" cy="5234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3" name="Logo HHN">
            <a:extLst>
              <a:ext uri="{FF2B5EF4-FFF2-40B4-BE49-F238E27FC236}">
                <a16:creationId xmlns:a16="http://schemas.microsoft.com/office/drawing/2014/main" id="{DAEDFCC7-C6AE-406F-A6AC-493E04E9B40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59514" y="307131"/>
            <a:ext cx="1423970" cy="4808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1726049"/>
      </p:ext>
    </p:extLst>
  </p:cSld>
  <p:clrMapOvr>
    <a:masterClrMapping/>
  </p:clrMapOvr>
  <p:hf hd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adline // Inhalt //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Oliver Daub Dennis Stehle und Robin Starkl | Pylint Workshop | WIN | WiSe 22/3</a:t>
            </a: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/>
              <a:t>|  </a:t>
            </a:r>
            <a:fld id="{E6B5151A-17C4-4431-8407-112C0160A8B6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0" name="Titel 9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BR"/>
              <a:t>Headline einfügen</a:t>
            </a:r>
            <a:br>
              <a:rPr lang="pt-BR"/>
            </a:br>
            <a:r>
              <a:rPr lang="pt-BR"/>
              <a:t>über zwei Zeilen</a:t>
            </a:r>
            <a:endParaRPr lang="de-DE"/>
          </a:p>
        </p:txBody>
      </p:sp>
      <p:sp>
        <p:nvSpPr>
          <p:cNvPr id="11" name="Vertikaler Textplatzhalter 2"/>
          <p:cNvSpPr>
            <a:spLocks noGrp="1"/>
          </p:cNvSpPr>
          <p:nvPr>
            <p:ph type="body" orient="vert" idx="13" hasCustomPrompt="1"/>
          </p:nvPr>
        </p:nvSpPr>
        <p:spPr>
          <a:xfrm>
            <a:off x="406400" y="2033702"/>
            <a:ext cx="7128933" cy="4209936"/>
          </a:xfrm>
        </p:spPr>
        <p:txBody>
          <a:bodyPr vert="horz"/>
          <a:lstStyle>
            <a:lvl3pPr>
              <a:defRPr/>
            </a:lvl3pPr>
          </a:lstStyle>
          <a:p>
            <a:pPr lvl="0"/>
            <a:r>
              <a:rPr lang="de-DE"/>
              <a:t>Text 22 Pt auf erster Ebene // für Aufzählung 22 Pt,  Text 20 Pt, Zwischenheadline und Aufzählungen 20 Pt &gt;&gt; Menü &gt; Start &gt; Absatz &gt; Listenebne erhöhen 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</p:txBody>
      </p:sp>
      <p:sp>
        <p:nvSpPr>
          <p:cNvPr id="17" name="Bildplatzhalter 2"/>
          <p:cNvSpPr>
            <a:spLocks noGrp="1"/>
          </p:cNvSpPr>
          <p:nvPr>
            <p:ph type="pic" idx="15" hasCustomPrompt="1"/>
          </p:nvPr>
        </p:nvSpPr>
        <p:spPr>
          <a:xfrm>
            <a:off x="7920568" y="2097883"/>
            <a:ext cx="3862917" cy="3960020"/>
          </a:xfrm>
          <a:noFill/>
        </p:spPr>
        <p:txBody>
          <a:bodyPr/>
          <a:lstStyle>
            <a:lvl1pPr marL="0" indent="0" algn="ctr">
              <a:spcAft>
                <a:spcPts val="0"/>
              </a:spcAft>
              <a:buNone/>
              <a:defRPr sz="1999"/>
            </a:lvl1pPr>
            <a:lvl2pPr marL="457203" indent="0">
              <a:buNone/>
              <a:defRPr sz="2800"/>
            </a:lvl2pPr>
            <a:lvl3pPr marL="914407" indent="0">
              <a:buNone/>
              <a:defRPr sz="2400"/>
            </a:lvl3pPr>
            <a:lvl4pPr marL="1371610" indent="0">
              <a:buNone/>
              <a:defRPr sz="1999"/>
            </a:lvl4pPr>
            <a:lvl5pPr marL="1828813" indent="0">
              <a:buNone/>
              <a:defRPr sz="1999"/>
            </a:lvl5pPr>
            <a:lvl6pPr marL="2286017" indent="0">
              <a:buNone/>
              <a:defRPr sz="1999"/>
            </a:lvl6pPr>
            <a:lvl7pPr marL="2743220" indent="0">
              <a:buNone/>
              <a:defRPr sz="1999"/>
            </a:lvl7pPr>
            <a:lvl8pPr marL="3200424" indent="0">
              <a:buNone/>
              <a:defRPr sz="1999"/>
            </a:lvl8pPr>
            <a:lvl9pPr marL="3657627" indent="0">
              <a:buNone/>
              <a:defRPr sz="1999"/>
            </a:lvl9pPr>
          </a:lstStyle>
          <a:p>
            <a:br>
              <a:rPr lang="de-DE"/>
            </a:br>
            <a:br>
              <a:rPr lang="de-DE"/>
            </a:br>
            <a:br>
              <a:rPr lang="de-DE"/>
            </a:br>
            <a:br>
              <a:rPr lang="de-DE"/>
            </a:br>
            <a:r>
              <a:rPr lang="de-DE"/>
              <a:t>Bild einfügen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ACC4EFDC-CB0B-4CC6-8814-1A5A62AC1FB3}"/>
              </a:ext>
            </a:extLst>
          </p:cNvPr>
          <p:cNvSpPr/>
          <p:nvPr/>
        </p:nvSpPr>
        <p:spPr>
          <a:xfrm>
            <a:off x="10354792" y="302698"/>
            <a:ext cx="1428697" cy="5234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3" name="Logo HHN">
            <a:extLst>
              <a:ext uri="{FF2B5EF4-FFF2-40B4-BE49-F238E27FC236}">
                <a16:creationId xmlns:a16="http://schemas.microsoft.com/office/drawing/2014/main" id="{D11F8385-F005-4E27-BBA1-C090DDDF4EE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59514" y="307131"/>
            <a:ext cx="1423970" cy="4808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3772814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4747">
          <p15:clr>
            <a:srgbClr val="FBAE40"/>
          </p15:clr>
        </p15:guide>
        <p15:guide id="2" pos="4989">
          <p15:clr>
            <a:srgbClr val="FBAE40"/>
          </p15:clr>
        </p15:guide>
        <p15:guide id="3" orient="horz" pos="3816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Bildplatzhalter 2"/>
          <p:cNvSpPr>
            <a:spLocks noGrp="1"/>
          </p:cNvSpPr>
          <p:nvPr>
            <p:ph type="pic" idx="15" hasCustomPrompt="1"/>
          </p:nvPr>
        </p:nvSpPr>
        <p:spPr>
          <a:xfrm>
            <a:off x="5" y="971550"/>
            <a:ext cx="12191999" cy="5886450"/>
          </a:xfrm>
          <a:noFill/>
        </p:spPr>
        <p:txBody>
          <a:bodyPr/>
          <a:lstStyle>
            <a:lvl1pPr marL="0" indent="0" algn="ctr">
              <a:buNone/>
              <a:defRPr sz="1999" b="1">
                <a:solidFill>
                  <a:schemeClr val="tx1"/>
                </a:solidFill>
                <a:latin typeface="+mj-lt"/>
              </a:defRPr>
            </a:lvl1pPr>
            <a:lvl2pPr marL="457203" indent="0">
              <a:buNone/>
              <a:defRPr sz="2800"/>
            </a:lvl2pPr>
            <a:lvl3pPr marL="914407" indent="0">
              <a:buNone/>
              <a:defRPr sz="2400"/>
            </a:lvl3pPr>
            <a:lvl4pPr marL="1371610" indent="0">
              <a:buNone/>
              <a:defRPr sz="1999"/>
            </a:lvl4pPr>
            <a:lvl5pPr marL="1828813" indent="0">
              <a:buNone/>
              <a:defRPr sz="1999"/>
            </a:lvl5pPr>
            <a:lvl6pPr marL="2286017" indent="0">
              <a:buNone/>
              <a:defRPr sz="1999"/>
            </a:lvl6pPr>
            <a:lvl7pPr marL="2743220" indent="0">
              <a:buNone/>
              <a:defRPr sz="1999"/>
            </a:lvl7pPr>
            <a:lvl8pPr marL="3200424" indent="0">
              <a:buNone/>
              <a:defRPr sz="1999"/>
            </a:lvl8pPr>
            <a:lvl9pPr marL="3657627" indent="0">
              <a:buNone/>
              <a:defRPr sz="1999"/>
            </a:lvl9pPr>
          </a:lstStyle>
          <a:p>
            <a:br>
              <a:rPr lang="de-DE"/>
            </a:br>
            <a:r>
              <a:rPr lang="de-DE"/>
              <a:t>Bild einfügen &gt;&gt; Menü &gt; Einfügen &gt; Bilder</a:t>
            </a:r>
          </a:p>
        </p:txBody>
      </p:sp>
      <p:sp>
        <p:nvSpPr>
          <p:cNvPr id="11" name="Vertikaler Textplatzhalter 2"/>
          <p:cNvSpPr>
            <a:spLocks noGrp="1"/>
          </p:cNvSpPr>
          <p:nvPr>
            <p:ph type="body" orient="vert" idx="13" hasCustomPrompt="1"/>
          </p:nvPr>
        </p:nvSpPr>
        <p:spPr>
          <a:xfrm>
            <a:off x="0" y="971552"/>
            <a:ext cx="12192000" cy="5886449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vert="horz" lIns="1954800" tIns="1389600" rIns="1501200"/>
          <a:lstStyle>
            <a:lvl1pPr>
              <a:lnSpc>
                <a:spcPct val="108000"/>
              </a:lnSpc>
              <a:spcAft>
                <a:spcPts val="0"/>
              </a:spcAft>
              <a:defRPr sz="3300" b="1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ct val="144000"/>
              </a:lnSpc>
              <a:spcBef>
                <a:spcPts val="2800"/>
              </a:spcBef>
              <a:spcAft>
                <a:spcPts val="0"/>
              </a:spcAft>
              <a:buNone/>
              <a:defRPr sz="1500" b="1">
                <a:solidFill>
                  <a:schemeClr val="bg1"/>
                </a:solidFill>
                <a:latin typeface="+mj-lt"/>
              </a:defRPr>
            </a:lvl2pPr>
            <a:lvl3pPr marL="0" indent="0">
              <a:lnSpc>
                <a:spcPct val="144000"/>
              </a:lnSpc>
              <a:spcBef>
                <a:spcPts val="2800"/>
              </a:spcBef>
              <a:spcAft>
                <a:spcPts val="0"/>
              </a:spcAft>
              <a:buFont typeface="Arial" panose="020B0604020202020204" pitchFamily="34" charset="0"/>
              <a:buNone/>
              <a:defRPr sz="1500" b="1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144000"/>
              </a:lnSpc>
              <a:spcBef>
                <a:spcPts val="2800"/>
              </a:spcBef>
              <a:spcAft>
                <a:spcPts val="0"/>
              </a:spcAft>
              <a:buFont typeface="Arial" panose="020B0604020202020204" pitchFamily="34" charset="0"/>
              <a:buNone/>
              <a:defRPr sz="1500" b="1">
                <a:solidFill>
                  <a:schemeClr val="bg1"/>
                </a:solidFill>
                <a:latin typeface="+mj-lt"/>
              </a:defRPr>
            </a:lvl4pPr>
            <a:lvl5pPr marL="0" indent="0">
              <a:lnSpc>
                <a:spcPct val="144000"/>
              </a:lnSpc>
              <a:spcBef>
                <a:spcPts val="2800"/>
              </a:spcBef>
              <a:spcAft>
                <a:spcPts val="0"/>
              </a:spcAft>
              <a:buNone/>
              <a:defRPr sz="1500" b="1">
                <a:solidFill>
                  <a:schemeClr val="bg1"/>
                </a:solidFill>
                <a:latin typeface="+mj-lt"/>
              </a:defRPr>
            </a:lvl5pPr>
            <a:lvl6pPr marL="0" indent="0">
              <a:lnSpc>
                <a:spcPct val="144000"/>
              </a:lnSpc>
              <a:spcBef>
                <a:spcPts val="2800"/>
              </a:spcBef>
              <a:spcAft>
                <a:spcPts val="0"/>
              </a:spcAft>
              <a:buNone/>
              <a:defRPr sz="1500" b="1">
                <a:solidFill>
                  <a:schemeClr val="bg1"/>
                </a:solidFill>
                <a:latin typeface="+mj-lt"/>
              </a:defRPr>
            </a:lvl6pPr>
            <a:lvl7pPr marL="0" indent="0">
              <a:lnSpc>
                <a:spcPct val="144000"/>
              </a:lnSpc>
              <a:spcBef>
                <a:spcPts val="2800"/>
              </a:spcBef>
              <a:spcAft>
                <a:spcPts val="0"/>
              </a:spcAft>
              <a:buFont typeface="Arial" panose="020B0604020202020204" pitchFamily="34" charset="0"/>
              <a:buNone/>
              <a:defRPr sz="1500" b="1">
                <a:solidFill>
                  <a:schemeClr val="bg1"/>
                </a:solidFill>
                <a:latin typeface="+mj-lt"/>
              </a:defRPr>
            </a:lvl7pPr>
            <a:lvl8pPr marL="0" indent="0">
              <a:lnSpc>
                <a:spcPct val="144000"/>
              </a:lnSpc>
              <a:spcBef>
                <a:spcPts val="2800"/>
              </a:spcBef>
              <a:spcAft>
                <a:spcPts val="0"/>
              </a:spcAft>
              <a:buFont typeface="Arial" panose="020B0604020202020204" pitchFamily="34" charset="0"/>
              <a:buNone/>
              <a:defRPr sz="1500" b="1">
                <a:solidFill>
                  <a:schemeClr val="bg1"/>
                </a:solidFill>
                <a:latin typeface="+mj-lt"/>
              </a:defRPr>
            </a:lvl8pPr>
            <a:lvl9pPr marL="0" indent="0">
              <a:lnSpc>
                <a:spcPct val="144000"/>
              </a:lnSpc>
              <a:spcBef>
                <a:spcPts val="2800"/>
              </a:spcBef>
              <a:spcAft>
                <a:spcPts val="0"/>
              </a:spcAft>
              <a:buFont typeface="Arial" panose="020B0604020202020204" pitchFamily="34" charset="0"/>
              <a:buNone/>
              <a:defRPr sz="1500" b="1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de-DE"/>
              <a:t>Zitat auf erster Ebene // für Autor &gt;&gt; Menü &gt; Start &gt; Absatz &gt; Listenebne erhöhen 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Oliver Daub Dennis Stehle und Robin Starkl | Pylint Workshop | WIN | WiSe 22/3</a:t>
            </a: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>
          <a:xfrm>
            <a:off x="9883778" y="6515213"/>
            <a:ext cx="1899711" cy="216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|  </a:t>
            </a:r>
            <a:fld id="{E6B5151A-17C4-4431-8407-112C0160A8B6}" type="slidenum">
              <a:rPr lang="de-DE" smtClean="0"/>
              <a:pPr/>
              <a:t>‹Nr.›</a:t>
            </a:fld>
            <a:endParaRPr lang="de-DE"/>
          </a:p>
        </p:txBody>
      </p:sp>
      <p:grpSp>
        <p:nvGrpSpPr>
          <p:cNvPr id="13" name="Regieanweisungen"/>
          <p:cNvGrpSpPr/>
          <p:nvPr/>
        </p:nvGrpSpPr>
        <p:grpSpPr>
          <a:xfrm>
            <a:off x="-2352000" y="-468000"/>
            <a:ext cx="17280000" cy="7668001"/>
            <a:chOff x="-1764000" y="-468001"/>
            <a:chExt cx="12960000" cy="7668001"/>
          </a:xfrm>
        </p:grpSpPr>
        <p:sp>
          <p:nvSpPr>
            <p:cNvPr id="14" name="Hilfslinien"/>
            <p:cNvSpPr txBox="1"/>
            <p:nvPr userDrawn="1"/>
          </p:nvSpPr>
          <p:spPr>
            <a:xfrm rot="10800000" flipH="1" flipV="1">
              <a:off x="4571999" y="-468000"/>
              <a:ext cx="4265614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2871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ilfslinien anzeigen über Menu: </a:t>
              </a:r>
            </a:p>
            <a:p>
              <a:pPr marL="0" marR="0" lvl="0" indent="0" algn="r" defTabSz="2871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Anzeigen &gt; </a:t>
              </a:r>
              <a:r>
                <a:rPr kumimoji="0" lang="de-DE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</a:t>
              </a:r>
              <a:r>
                <a:rPr kumimoji="0" lang="de-DE" sz="10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r>
                <a:rPr kumimoji="0" lang="de-DE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bei</a:t>
              </a:r>
              <a:r>
                <a:rPr kumimoji="0" lang="de-DE" sz="10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Führungslinien </a:t>
              </a:r>
              <a:r>
                <a:rPr kumimoji="0" lang="de-DE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15" name="Zurücksetzen"/>
            <p:cNvSpPr txBox="1"/>
            <p:nvPr userDrawn="1"/>
          </p:nvSpPr>
          <p:spPr>
            <a:xfrm rot="10800000" flipH="1" flipV="1">
              <a:off x="9252000" y="-1"/>
              <a:ext cx="1944000" cy="898525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bringen über Menu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1" baseline="0">
                  <a:solidFill>
                    <a:schemeClr val="tx1"/>
                  </a:solidFill>
                  <a:latin typeface="+mn-lt"/>
                </a:rPr>
                <a:t>Start &gt; Folien &gt; Zurücksetzen</a:t>
              </a:r>
            </a:p>
          </p:txBody>
        </p:sp>
        <p:sp>
          <p:nvSpPr>
            <p:cNvPr id="16" name="Layoutwechsel"/>
            <p:cNvSpPr txBox="1"/>
            <p:nvPr userDrawn="1"/>
          </p:nvSpPr>
          <p:spPr>
            <a:xfrm rot="10800000" flipH="1" flipV="1">
              <a:off x="9252000" y="1008000"/>
              <a:ext cx="1944000" cy="504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Wechsel des Folienlayouts </a:t>
              </a:r>
              <a:br>
                <a:rPr lang="de-DE" sz="1000" b="0" baseline="0">
                  <a:solidFill>
                    <a:schemeClr val="tx1"/>
                  </a:solidFill>
                  <a:latin typeface="+mn-lt"/>
                </a:rPr>
              </a:b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im Menü über:</a:t>
              </a:r>
            </a:p>
            <a:p>
              <a:pPr marL="0" marR="0" lvl="0" indent="0" algn="l" defTabSz="251725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1" baseline="0">
                  <a:solidFill>
                    <a:schemeClr val="tx1"/>
                  </a:solidFill>
                  <a:latin typeface="+mn-lt"/>
                </a:rPr>
                <a:t>Start &gt; Folien &gt; Layout</a:t>
              </a:r>
            </a:p>
          </p:txBody>
        </p:sp>
        <p:sp>
          <p:nvSpPr>
            <p:cNvPr id="18" name="Text // Listenebene erhöhen"/>
            <p:cNvSpPr txBox="1"/>
            <p:nvPr userDrawn="1"/>
          </p:nvSpPr>
          <p:spPr>
            <a:xfrm>
              <a:off x="-1764000" y="3042062"/>
              <a:ext cx="898412" cy="288000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noAutofit/>
            </a:bodyPr>
            <a:lstStyle/>
            <a:p>
              <a:pPr marL="0" marR="0" lvl="0" indent="0" algn="r" defTabSz="251725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1" baseline="0">
                  <a:solidFill>
                    <a:schemeClr val="tx1"/>
                  </a:solidFill>
                  <a:latin typeface="+mn-lt"/>
                </a:rPr>
                <a:t>Listenebene</a:t>
              </a:r>
            </a:p>
            <a:p>
              <a:pPr marL="0" marR="0" lvl="0" indent="0" algn="r" defTabSz="251725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1" baseline="0">
                  <a:solidFill>
                    <a:schemeClr val="tx1"/>
                  </a:solidFill>
                  <a:latin typeface="+mn-lt"/>
                </a:rPr>
                <a:t>erhöhen</a:t>
              </a:r>
            </a:p>
          </p:txBody>
        </p:sp>
        <p:sp>
          <p:nvSpPr>
            <p:cNvPr id="19" name="Text // Listenebene verringern"/>
            <p:cNvSpPr txBox="1"/>
            <p:nvPr userDrawn="1"/>
          </p:nvSpPr>
          <p:spPr>
            <a:xfrm>
              <a:off x="-1764000" y="3438062"/>
              <a:ext cx="898412" cy="288001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noAutofit/>
            </a:bodyPr>
            <a:lstStyle/>
            <a:p>
              <a:pPr marL="0" marR="0" lvl="0" indent="0" algn="r" defTabSz="251725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1" baseline="0">
                  <a:solidFill>
                    <a:schemeClr val="tx1"/>
                  </a:solidFill>
                  <a:latin typeface="+mn-lt"/>
                </a:rPr>
                <a:t>Listenebene</a:t>
              </a:r>
            </a:p>
            <a:p>
              <a:pPr marL="0" marR="0" lvl="0" indent="0" algn="r" defTabSz="251725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1" baseline="0">
                  <a:solidFill>
                    <a:schemeClr val="tx1"/>
                  </a:solidFill>
                  <a:latin typeface="+mn-lt"/>
                </a:rPr>
                <a:t>verringern</a:t>
              </a:r>
            </a:p>
          </p:txBody>
        </p:sp>
        <p:sp>
          <p:nvSpPr>
            <p:cNvPr id="20" name="Listenebenen"/>
            <p:cNvSpPr txBox="1"/>
            <p:nvPr userDrawn="1"/>
          </p:nvSpPr>
          <p:spPr>
            <a:xfrm rot="10800000" flipH="1" flipV="1">
              <a:off x="-1690413" y="2124000"/>
              <a:ext cx="1584000" cy="792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251725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Wechsel der Textebene</a:t>
              </a:r>
            </a:p>
            <a:p>
              <a:pPr marL="0" marR="0" lvl="0" indent="0" algn="r" defTabSz="251725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im Menü über: </a:t>
              </a:r>
              <a:br>
                <a:rPr lang="de-DE" sz="1000" b="0" baseline="0">
                  <a:solidFill>
                    <a:schemeClr val="tx1"/>
                  </a:solidFill>
                  <a:latin typeface="+mn-lt"/>
                </a:rPr>
              </a:br>
              <a:r>
                <a:rPr lang="de-DE" sz="1000" b="1" baseline="0">
                  <a:solidFill>
                    <a:schemeClr val="tx1"/>
                  </a:solidFill>
                  <a:latin typeface="+mn-lt"/>
                </a:rPr>
                <a:t>Start &gt; Absatz &gt; Listenebene erhöhen/verringern</a:t>
              </a:r>
            </a:p>
          </p:txBody>
        </p:sp>
        <p:pic>
          <p:nvPicPr>
            <p:cNvPr id="21" name="Bild // Listenebene verringern"/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-792000" y="3438062"/>
              <a:ext cx="622082" cy="288000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22" name="Bild // Listenebene erhöhen"/>
            <p:cNvPicPr>
              <a:picLocks noChangeAspect="1"/>
            </p:cNvPicPr>
            <p:nvPr userDrawn="1"/>
          </p:nvPicPr>
          <p:blipFill>
            <a:blip r:embed="rId4"/>
            <a:stretch>
              <a:fillRect/>
            </a:stretch>
          </p:blipFill>
          <p:spPr>
            <a:xfrm>
              <a:off x="-792000" y="3042062"/>
              <a:ext cx="622082" cy="28800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23" name="Fußzeile"/>
            <p:cNvSpPr txBox="1"/>
            <p:nvPr userDrawn="1"/>
          </p:nvSpPr>
          <p:spPr>
            <a:xfrm rot="10800000" flipH="1" flipV="1">
              <a:off x="304801" y="6984000"/>
              <a:ext cx="5531474" cy="216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Fußzeile anpassen: </a:t>
              </a:r>
              <a:r>
                <a:rPr lang="de-DE" sz="1000" b="1" baseline="0">
                  <a:solidFill>
                    <a:schemeClr val="tx1"/>
                  </a:solidFill>
                  <a:latin typeface="+mn-lt"/>
                </a:rPr>
                <a:t>Einfügen &gt; Text &gt; Kopf- und Fußzeile</a:t>
              </a:r>
            </a:p>
          </p:txBody>
        </p:sp>
        <p:sp>
          <p:nvSpPr>
            <p:cNvPr id="24" name="Kopfzeile"/>
            <p:cNvSpPr txBox="1"/>
            <p:nvPr userDrawn="1"/>
          </p:nvSpPr>
          <p:spPr>
            <a:xfrm rot="10800000" flipH="1" flipV="1">
              <a:off x="304800" y="-468001"/>
              <a:ext cx="4267199" cy="360002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Kopfzeile anpassen: </a:t>
              </a:r>
              <a:r>
                <a:rPr lang="de-DE" sz="1000" b="1" baseline="0">
                  <a:solidFill>
                    <a:schemeClr val="tx1"/>
                  </a:solidFill>
                  <a:latin typeface="+mn-lt"/>
                </a:rPr>
                <a:t>Einfügen &gt; Text &gt; Kopf- und Fußzeile</a:t>
              </a:r>
            </a:p>
          </p:txBody>
        </p:sp>
      </p:grpSp>
      <p:sp>
        <p:nvSpPr>
          <p:cNvPr id="28" name="Titel 9">
            <a:extLst>
              <a:ext uri="{FF2B5EF4-FFF2-40B4-BE49-F238E27FC236}">
                <a16:creationId xmlns:a16="http://schemas.microsoft.com/office/drawing/2014/main" id="{806AA2DC-065A-4166-A62B-2A250A3B35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1684080"/>
            <a:ext cx="1321200" cy="1119600"/>
          </a:xfrm>
          <a:blipFill>
            <a:blip r:embed="rId5"/>
            <a:stretch>
              <a:fillRect/>
            </a:stretch>
          </a:blipFill>
        </p:spPr>
        <p:txBody>
          <a:bodyPr wrap="none" rIns="1454400" anchor="t" anchorCtr="0"/>
          <a:lstStyle>
            <a:lvl1pPr algn="r">
              <a:defRPr sz="1000" baseline="0"/>
            </a:lvl1pPr>
          </a:lstStyle>
          <a:p>
            <a:r>
              <a:rPr lang="pt-BR"/>
              <a:t>Bitte nicht</a:t>
            </a:r>
            <a:br>
              <a:rPr lang="pt-BR"/>
            </a:br>
            <a:r>
              <a:rPr lang="pt-BR"/>
              <a:t>verschieben</a:t>
            </a:r>
            <a:endParaRPr lang="de-DE"/>
          </a:p>
        </p:txBody>
      </p:sp>
      <p:pic>
        <p:nvPicPr>
          <p:cNvPr id="25" name="Logo HHN">
            <a:extLst>
              <a:ext uri="{FF2B5EF4-FFF2-40B4-BE49-F238E27FC236}">
                <a16:creationId xmlns:a16="http://schemas.microsoft.com/office/drawing/2014/main" id="{DD0F6225-B102-43A4-892D-DBC64C5B6C9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59514" y="307131"/>
            <a:ext cx="1423970" cy="4808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1501768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3.emf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Regieanweisungen"/>
          <p:cNvGrpSpPr/>
          <p:nvPr/>
        </p:nvGrpSpPr>
        <p:grpSpPr>
          <a:xfrm>
            <a:off x="-2253886" y="-468000"/>
            <a:ext cx="17181886" cy="7668001"/>
            <a:chOff x="-1690413" y="-468001"/>
            <a:chExt cx="12886413" cy="7668001"/>
          </a:xfrm>
        </p:grpSpPr>
        <p:sp>
          <p:nvSpPr>
            <p:cNvPr id="11" name="Hilfslinien"/>
            <p:cNvSpPr txBox="1"/>
            <p:nvPr userDrawn="1"/>
          </p:nvSpPr>
          <p:spPr>
            <a:xfrm rot="10800000" flipH="1" flipV="1">
              <a:off x="4571999" y="-468000"/>
              <a:ext cx="42648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2871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ilfslinien anzeigen über Menu: </a:t>
              </a:r>
            </a:p>
            <a:p>
              <a:pPr marL="0" marR="0" lvl="0" indent="0" algn="r" defTabSz="2871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Anzeigen &gt; </a:t>
              </a:r>
              <a:r>
                <a:rPr kumimoji="0" lang="de-DE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</a:t>
              </a:r>
              <a:r>
                <a:rPr kumimoji="0" lang="de-DE" sz="10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r>
                <a:rPr kumimoji="0" lang="de-DE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bei</a:t>
              </a:r>
              <a:r>
                <a:rPr kumimoji="0" lang="de-DE" sz="10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Führungslinien </a:t>
              </a:r>
              <a:r>
                <a:rPr kumimoji="0" lang="de-DE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13" name="Zurücksetzen"/>
            <p:cNvSpPr txBox="1"/>
            <p:nvPr userDrawn="1"/>
          </p:nvSpPr>
          <p:spPr>
            <a:xfrm rot="10800000" flipH="1" flipV="1">
              <a:off x="9252000" y="-1"/>
              <a:ext cx="1944000" cy="898525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bringen über Menu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1" baseline="0">
                  <a:solidFill>
                    <a:schemeClr val="tx1"/>
                  </a:solidFill>
                  <a:latin typeface="+mn-lt"/>
                </a:rPr>
                <a:t>Start &gt; Folien &gt; Zurücksetzen</a:t>
              </a:r>
            </a:p>
          </p:txBody>
        </p:sp>
        <p:sp>
          <p:nvSpPr>
            <p:cNvPr id="14" name="Layoutwechsel"/>
            <p:cNvSpPr txBox="1"/>
            <p:nvPr userDrawn="1"/>
          </p:nvSpPr>
          <p:spPr>
            <a:xfrm rot="10800000" flipH="1" flipV="1">
              <a:off x="9252000" y="1008000"/>
              <a:ext cx="1944000" cy="504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Wechsel des Folienlayouts </a:t>
              </a:r>
              <a:br>
                <a:rPr lang="de-DE" sz="1000" b="0" baseline="0">
                  <a:solidFill>
                    <a:schemeClr val="tx1"/>
                  </a:solidFill>
                  <a:latin typeface="+mn-lt"/>
                </a:rPr>
              </a:b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im Menü über:</a:t>
              </a:r>
            </a:p>
            <a:p>
              <a:pPr marL="0" marR="0" lvl="0" indent="0" algn="l" defTabSz="251725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1" baseline="0">
                  <a:solidFill>
                    <a:schemeClr val="tx1"/>
                  </a:solidFill>
                  <a:latin typeface="+mn-lt"/>
                </a:rPr>
                <a:t>Start &gt; Folien &gt; Layout</a:t>
              </a:r>
            </a:p>
          </p:txBody>
        </p:sp>
        <p:sp>
          <p:nvSpPr>
            <p:cNvPr id="15" name="Text // Listenebene erhöhen"/>
            <p:cNvSpPr txBox="1"/>
            <p:nvPr userDrawn="1"/>
          </p:nvSpPr>
          <p:spPr>
            <a:xfrm>
              <a:off x="-1516796" y="2871934"/>
              <a:ext cx="898412" cy="288000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noAutofit/>
            </a:bodyPr>
            <a:lstStyle/>
            <a:p>
              <a:pPr marL="0" marR="0" lvl="0" indent="0" algn="r" defTabSz="251725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1" baseline="0">
                  <a:solidFill>
                    <a:schemeClr val="tx1"/>
                  </a:solidFill>
                  <a:latin typeface="+mn-lt"/>
                </a:rPr>
                <a:t>Listenebene</a:t>
              </a:r>
            </a:p>
            <a:p>
              <a:pPr marL="0" marR="0" lvl="0" indent="0" algn="r" defTabSz="251725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1" baseline="0">
                  <a:solidFill>
                    <a:schemeClr val="tx1"/>
                  </a:solidFill>
                  <a:latin typeface="+mn-lt"/>
                </a:rPr>
                <a:t>erhöhen</a:t>
              </a:r>
            </a:p>
          </p:txBody>
        </p:sp>
        <p:sp>
          <p:nvSpPr>
            <p:cNvPr id="16" name="Text // Listenebene verringern"/>
            <p:cNvSpPr txBox="1"/>
            <p:nvPr userDrawn="1"/>
          </p:nvSpPr>
          <p:spPr>
            <a:xfrm>
              <a:off x="-1516796" y="3267934"/>
              <a:ext cx="898412" cy="288001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noAutofit/>
            </a:bodyPr>
            <a:lstStyle/>
            <a:p>
              <a:pPr marL="0" marR="0" lvl="0" indent="0" algn="r" defTabSz="251725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1" baseline="0">
                  <a:solidFill>
                    <a:schemeClr val="tx1"/>
                  </a:solidFill>
                  <a:latin typeface="+mn-lt"/>
                </a:rPr>
                <a:t>Listenebene</a:t>
              </a:r>
            </a:p>
            <a:p>
              <a:pPr marL="0" marR="0" lvl="0" indent="0" algn="r" defTabSz="251725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1" baseline="0">
                  <a:solidFill>
                    <a:schemeClr val="tx1"/>
                  </a:solidFill>
                  <a:latin typeface="+mn-lt"/>
                </a:rPr>
                <a:t>verringern</a:t>
              </a:r>
            </a:p>
          </p:txBody>
        </p:sp>
        <p:sp>
          <p:nvSpPr>
            <p:cNvPr id="17" name="Listenebenen"/>
            <p:cNvSpPr txBox="1"/>
            <p:nvPr userDrawn="1"/>
          </p:nvSpPr>
          <p:spPr>
            <a:xfrm rot="10800000" flipH="1" flipV="1">
              <a:off x="-1690413" y="2124000"/>
              <a:ext cx="1584000" cy="792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251725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Wechsel der Textebene</a:t>
              </a:r>
            </a:p>
            <a:p>
              <a:pPr marL="0" marR="0" lvl="0" indent="0" algn="r" defTabSz="251725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im Menü über: </a:t>
              </a:r>
              <a:br>
                <a:rPr lang="de-DE" sz="1000" b="0" baseline="0">
                  <a:solidFill>
                    <a:schemeClr val="tx1"/>
                  </a:solidFill>
                  <a:latin typeface="+mn-lt"/>
                </a:rPr>
              </a:br>
              <a:r>
                <a:rPr lang="de-DE" sz="1000" b="1" baseline="0">
                  <a:solidFill>
                    <a:schemeClr val="tx1"/>
                  </a:solidFill>
                  <a:latin typeface="+mn-lt"/>
                </a:rPr>
                <a:t>Start &gt; Absatz &gt; Listenebene erhöhen/verringern</a:t>
              </a:r>
            </a:p>
          </p:txBody>
        </p:sp>
        <p:pic>
          <p:nvPicPr>
            <p:cNvPr id="18" name="Bild // Listenebene verringern"/>
            <p:cNvPicPr>
              <a:picLocks noChangeAspect="1"/>
            </p:cNvPicPr>
            <p:nvPr userDrawn="1"/>
          </p:nvPicPr>
          <p:blipFill>
            <a:blip r:embed="rId15"/>
            <a:stretch>
              <a:fillRect/>
            </a:stretch>
          </p:blipFill>
          <p:spPr>
            <a:xfrm>
              <a:off x="-544788" y="3267934"/>
              <a:ext cx="385763" cy="238125"/>
            </a:xfrm>
            <a:prstGeom prst="rect">
              <a:avLst/>
            </a:prstGeom>
          </p:spPr>
        </p:pic>
        <p:pic>
          <p:nvPicPr>
            <p:cNvPr id="19" name="Bild // Listenebene erhöhen"/>
            <p:cNvPicPr>
              <a:picLocks noChangeAspect="1"/>
            </p:cNvPicPr>
            <p:nvPr userDrawn="1"/>
          </p:nvPicPr>
          <p:blipFill>
            <a:blip r:embed="rId16"/>
            <a:stretch>
              <a:fillRect/>
            </a:stretch>
          </p:blipFill>
          <p:spPr>
            <a:xfrm>
              <a:off x="-544788" y="2871934"/>
              <a:ext cx="385763" cy="238125"/>
            </a:xfrm>
            <a:prstGeom prst="rect">
              <a:avLst/>
            </a:prstGeom>
          </p:spPr>
        </p:pic>
        <p:sp>
          <p:nvSpPr>
            <p:cNvPr id="20" name="Fußzeile"/>
            <p:cNvSpPr txBox="1"/>
            <p:nvPr userDrawn="1"/>
          </p:nvSpPr>
          <p:spPr>
            <a:xfrm rot="10800000" flipH="1" flipV="1">
              <a:off x="304799" y="6984000"/>
              <a:ext cx="5531475" cy="216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Fußzeile anpassen: </a:t>
              </a:r>
              <a:r>
                <a:rPr lang="de-DE" sz="1000" b="1" baseline="0">
                  <a:solidFill>
                    <a:schemeClr val="tx1"/>
                  </a:solidFill>
                  <a:latin typeface="+mn-lt"/>
                </a:rPr>
                <a:t>Einfügen &gt; Text &gt; Kopf- und Fußzeile</a:t>
              </a:r>
            </a:p>
          </p:txBody>
        </p:sp>
        <p:sp>
          <p:nvSpPr>
            <p:cNvPr id="21" name="Kopfzeile"/>
            <p:cNvSpPr txBox="1"/>
            <p:nvPr userDrawn="1"/>
          </p:nvSpPr>
          <p:spPr>
            <a:xfrm rot="10800000" flipH="1" flipV="1">
              <a:off x="304800" y="-468001"/>
              <a:ext cx="4267199" cy="360002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Kopfzeile anpassen: </a:t>
              </a:r>
              <a:r>
                <a:rPr lang="de-DE" sz="1000" b="1" baseline="0">
                  <a:solidFill>
                    <a:schemeClr val="tx1"/>
                  </a:solidFill>
                  <a:latin typeface="+mn-lt"/>
                </a:rPr>
                <a:t>Einfügen &gt; Text &gt; Kopf- und Fußzeile</a:t>
              </a:r>
            </a:p>
          </p:txBody>
        </p:sp>
      </p:grpSp>
      <p:cxnSp>
        <p:nvCxnSpPr>
          <p:cNvPr id="12" name="Footerlinie"/>
          <p:cNvCxnSpPr/>
          <p:nvPr/>
        </p:nvCxnSpPr>
        <p:spPr>
          <a:xfrm>
            <a:off x="406399" y="6449759"/>
            <a:ext cx="11376000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Headerlinie"/>
          <p:cNvCxnSpPr/>
          <p:nvPr/>
        </p:nvCxnSpPr>
        <p:spPr>
          <a:xfrm>
            <a:off x="406400" y="1800000"/>
            <a:ext cx="11376000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406405" y="898525"/>
            <a:ext cx="11377084" cy="8636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pt-BR"/>
              <a:t>Headline einfügen</a:t>
            </a:r>
            <a:br>
              <a:rPr lang="pt-BR"/>
            </a:br>
            <a:r>
              <a:rPr lang="pt-BR"/>
              <a:t>über zwei Zeil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06402" y="2033591"/>
            <a:ext cx="11377084" cy="421004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de-DE"/>
              <a:t>Text 22 Pt auf erster Ebene // für Aufzählung 22 Pt,  Text 20 Pt, Zwischenheadline und Aufzählungen 20 Pt &gt;&gt; Menü &gt; Start &gt; Absatz &gt; Listenebne erhöhen 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406401" y="6515213"/>
            <a:ext cx="8813273" cy="21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000" b="0" spc="40" baseline="0">
                <a:solidFill>
                  <a:schemeClr val="tx1"/>
                </a:solidFill>
                <a:latin typeface="+mn-lt"/>
              </a:defRPr>
            </a:lvl1pPr>
            <a:lvl2pPr marL="0" algn="l">
              <a:lnSpc>
                <a:spcPct val="100000"/>
              </a:lnSpc>
              <a:spcBef>
                <a:spcPts val="0"/>
              </a:spcBef>
              <a:defRPr sz="1000" b="0" spc="40" baseline="0">
                <a:latin typeface="+mn-lt"/>
              </a:defRPr>
            </a:lvl2pPr>
            <a:lvl3pPr marL="0" algn="l">
              <a:lnSpc>
                <a:spcPct val="100000"/>
              </a:lnSpc>
              <a:spcBef>
                <a:spcPts val="0"/>
              </a:spcBef>
              <a:defRPr sz="1000" b="0" spc="40" baseline="0">
                <a:latin typeface="+mn-lt"/>
              </a:defRPr>
            </a:lvl3pPr>
            <a:lvl4pPr marL="0" algn="l">
              <a:lnSpc>
                <a:spcPct val="100000"/>
              </a:lnSpc>
              <a:spcBef>
                <a:spcPts val="0"/>
              </a:spcBef>
              <a:defRPr sz="1000" b="0" spc="40" baseline="0">
                <a:latin typeface="+mn-lt"/>
              </a:defRPr>
            </a:lvl4pPr>
            <a:lvl5pPr marL="0" algn="l">
              <a:lnSpc>
                <a:spcPct val="100000"/>
              </a:lnSpc>
              <a:spcBef>
                <a:spcPts val="0"/>
              </a:spcBef>
              <a:defRPr sz="1000" b="0" spc="40" baseline="0">
                <a:latin typeface="+mn-lt"/>
              </a:defRPr>
            </a:lvl5pPr>
            <a:lvl6pPr marL="0" algn="l">
              <a:lnSpc>
                <a:spcPct val="100000"/>
              </a:lnSpc>
              <a:spcBef>
                <a:spcPts val="0"/>
              </a:spcBef>
              <a:defRPr sz="1000" b="0" spc="40" baseline="0">
                <a:latin typeface="+mn-lt"/>
              </a:defRPr>
            </a:lvl6pPr>
            <a:lvl7pPr marL="0" algn="l">
              <a:lnSpc>
                <a:spcPct val="100000"/>
              </a:lnSpc>
              <a:spcBef>
                <a:spcPts val="0"/>
              </a:spcBef>
              <a:defRPr sz="1000" b="0" spc="40" baseline="0">
                <a:latin typeface="+mn-lt"/>
              </a:defRPr>
            </a:lvl7pPr>
            <a:lvl8pPr marL="0" algn="l">
              <a:lnSpc>
                <a:spcPct val="100000"/>
              </a:lnSpc>
              <a:spcBef>
                <a:spcPts val="0"/>
              </a:spcBef>
              <a:defRPr sz="1000" b="0" spc="40" baseline="0">
                <a:latin typeface="+mn-lt"/>
              </a:defRPr>
            </a:lvl8pPr>
            <a:lvl9pPr marL="0" algn="l">
              <a:lnSpc>
                <a:spcPct val="100000"/>
              </a:lnSpc>
              <a:spcBef>
                <a:spcPts val="0"/>
              </a:spcBef>
              <a:defRPr sz="1000" b="0" spc="40" baseline="0">
                <a:latin typeface="+mn-lt"/>
              </a:defRPr>
            </a:lvl9pPr>
          </a:lstStyle>
          <a:p>
            <a:r>
              <a:rPr lang="de-DE"/>
              <a:t>Oliver Daub Dennis Stehle und Robin Starkl | Pylint Workshop | WIN | WiSe 22/3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83778" y="6515213"/>
            <a:ext cx="1899711" cy="21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1pPr>
            <a:lvl2pPr marL="0" algn="r">
              <a:lnSpc>
                <a:spcPct val="100000"/>
              </a:lnSpc>
              <a:spcBef>
                <a:spcPts val="0"/>
              </a:spcBef>
              <a:defRPr sz="1000" b="0">
                <a:latin typeface="+mn-lt"/>
              </a:defRPr>
            </a:lvl2pPr>
            <a:lvl3pPr marL="0" algn="r">
              <a:lnSpc>
                <a:spcPct val="100000"/>
              </a:lnSpc>
              <a:spcBef>
                <a:spcPts val="0"/>
              </a:spcBef>
              <a:defRPr sz="1000" b="0">
                <a:latin typeface="+mn-lt"/>
              </a:defRPr>
            </a:lvl3pPr>
            <a:lvl4pPr marL="0" algn="r">
              <a:lnSpc>
                <a:spcPct val="100000"/>
              </a:lnSpc>
              <a:spcBef>
                <a:spcPts val="0"/>
              </a:spcBef>
              <a:defRPr sz="1000" b="0">
                <a:latin typeface="+mn-lt"/>
              </a:defRPr>
            </a:lvl4pPr>
            <a:lvl5pPr marL="0" algn="r">
              <a:lnSpc>
                <a:spcPct val="100000"/>
              </a:lnSpc>
              <a:spcBef>
                <a:spcPts val="0"/>
              </a:spcBef>
              <a:defRPr sz="1000" b="0">
                <a:latin typeface="+mn-lt"/>
              </a:defRPr>
            </a:lvl5pPr>
            <a:lvl6pPr marL="0" algn="r">
              <a:lnSpc>
                <a:spcPct val="100000"/>
              </a:lnSpc>
              <a:spcBef>
                <a:spcPts val="0"/>
              </a:spcBef>
              <a:defRPr sz="1000" b="0">
                <a:latin typeface="+mn-lt"/>
              </a:defRPr>
            </a:lvl6pPr>
            <a:lvl7pPr marL="0" algn="r">
              <a:lnSpc>
                <a:spcPct val="100000"/>
              </a:lnSpc>
              <a:spcBef>
                <a:spcPts val="0"/>
              </a:spcBef>
              <a:defRPr sz="1000" b="0">
                <a:latin typeface="+mn-lt"/>
              </a:defRPr>
            </a:lvl7pPr>
            <a:lvl8pPr marL="0" algn="r">
              <a:lnSpc>
                <a:spcPct val="100000"/>
              </a:lnSpc>
              <a:spcBef>
                <a:spcPts val="0"/>
              </a:spcBef>
              <a:defRPr sz="1000" b="0">
                <a:latin typeface="+mn-lt"/>
              </a:defRPr>
            </a:lvl8pPr>
            <a:lvl9pPr marL="0" algn="r">
              <a:lnSpc>
                <a:spcPct val="100000"/>
              </a:lnSpc>
              <a:spcBef>
                <a:spcPts val="0"/>
              </a:spcBef>
              <a:defRPr sz="1000" b="0">
                <a:latin typeface="+mn-lt"/>
              </a:defRPr>
            </a:lvl9pPr>
          </a:lstStyle>
          <a:p>
            <a:r>
              <a:rPr lang="de-DE"/>
              <a:t>|  </a:t>
            </a:r>
            <a:fld id="{E6B5151A-17C4-4431-8407-112C0160A8B6}" type="slidenum">
              <a:rPr lang="de-DE" smtClean="0"/>
              <a:pPr/>
              <a:t>‹Nr.›</a:t>
            </a:fld>
            <a:endParaRPr lang="de-DE"/>
          </a:p>
        </p:txBody>
      </p:sp>
      <p:pic>
        <p:nvPicPr>
          <p:cNvPr id="22" name="Logo HHN">
            <a:extLst>
              <a:ext uri="{FF2B5EF4-FFF2-40B4-BE49-F238E27FC236}">
                <a16:creationId xmlns:a16="http://schemas.microsoft.com/office/drawing/2014/main" id="{5E89F51E-2D23-47E8-A3A6-FB87C024A0B1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59514" y="307131"/>
            <a:ext cx="1423970" cy="4808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41733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  <p:sldLayoutId id="2147483666" r:id="rId2"/>
    <p:sldLayoutId id="2147483670" r:id="rId3"/>
    <p:sldLayoutId id="2147483649" r:id="rId4"/>
    <p:sldLayoutId id="2147483667" r:id="rId5"/>
    <p:sldLayoutId id="2147483650" r:id="rId6"/>
    <p:sldLayoutId id="2147483660" r:id="rId7"/>
    <p:sldLayoutId id="2147483661" r:id="rId8"/>
    <p:sldLayoutId id="2147483662" r:id="rId9"/>
    <p:sldLayoutId id="2147483664" r:id="rId10"/>
    <p:sldLayoutId id="2147483665" r:id="rId11"/>
    <p:sldLayoutId id="2147483654" r:id="rId12"/>
    <p:sldLayoutId id="2147483668" r:id="rId13"/>
  </p:sldLayoutIdLst>
  <p:hf hdr="0" dt="0"/>
  <p:txStyles>
    <p:titleStyle>
      <a:lvl1pPr marL="0" indent="0" algn="l" defTabSz="914407" rtl="0" eaLnBrk="1" latinLnBrk="0" hangingPunct="1">
        <a:lnSpc>
          <a:spcPct val="94000"/>
        </a:lnSpc>
        <a:spcBef>
          <a:spcPts val="0"/>
        </a:spcBef>
        <a:buFont typeface="Arial" panose="020B0604020202020204" pitchFamily="34" charset="0"/>
        <a:buNone/>
        <a:defRPr sz="3000" b="1" kern="1200" cap="all" spc="120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7" rtl="0" eaLnBrk="1" latinLnBrk="0" hangingPunct="1">
        <a:lnSpc>
          <a:spcPct val="105000"/>
        </a:lnSpc>
        <a:spcBef>
          <a:spcPts val="0"/>
        </a:spcBef>
        <a:spcAft>
          <a:spcPts val="1999"/>
        </a:spcAft>
        <a:buFont typeface="Arial" panose="020B0604020202020204" pitchFamily="34" charset="0"/>
        <a:buNone/>
        <a:tabLst>
          <a:tab pos="288003" algn="l"/>
          <a:tab pos="792005" algn="l"/>
        </a:tabLst>
        <a:defRPr sz="2201" b="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288003" indent="-288003" algn="l" defTabSz="914407" rtl="0" eaLnBrk="1" latinLnBrk="0" hangingPunct="1">
        <a:lnSpc>
          <a:spcPct val="105000"/>
        </a:lnSpc>
        <a:spcBef>
          <a:spcPts val="599"/>
        </a:spcBef>
        <a:buClr>
          <a:schemeClr val="accent1"/>
        </a:buClr>
        <a:buFont typeface="Arial" panose="020B0604020202020204" pitchFamily="34" charset="0"/>
        <a:buChar char="&gt;"/>
        <a:tabLst>
          <a:tab pos="288003" algn="l"/>
          <a:tab pos="792005" algn="l"/>
        </a:tabLst>
        <a:defRPr sz="2201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0" indent="0" algn="l" defTabSz="914407" rtl="0" eaLnBrk="1" latinLnBrk="0" hangingPunct="1">
        <a:lnSpc>
          <a:spcPct val="108000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tabLst>
          <a:tab pos="288003" algn="l"/>
          <a:tab pos="792005" algn="l"/>
        </a:tabLst>
        <a:defRPr sz="1999" b="0" kern="1200">
          <a:solidFill>
            <a:schemeClr val="accent1"/>
          </a:solidFill>
          <a:latin typeface="+mn-lt"/>
          <a:ea typeface="+mn-ea"/>
          <a:cs typeface="+mn-cs"/>
        </a:defRPr>
      </a:lvl3pPr>
      <a:lvl4pPr marL="288003" indent="0" algn="l" defTabSz="914407" rtl="0" eaLnBrk="1" latinLnBrk="0" hangingPunct="1">
        <a:lnSpc>
          <a:spcPct val="108000"/>
        </a:lnSpc>
        <a:spcBef>
          <a:spcPts val="1300"/>
        </a:spcBef>
        <a:spcAft>
          <a:spcPts val="0"/>
        </a:spcAft>
        <a:buFont typeface="Arial" panose="020B0604020202020204" pitchFamily="34" charset="0"/>
        <a:buNone/>
        <a:tabLst>
          <a:tab pos="288003" algn="l"/>
          <a:tab pos="792005" algn="l"/>
        </a:tabLst>
        <a:defRPr sz="1999" b="1" kern="1200">
          <a:solidFill>
            <a:schemeClr val="tx1"/>
          </a:solidFill>
          <a:latin typeface="+mj-lt"/>
          <a:ea typeface="+mn-ea"/>
          <a:cs typeface="+mn-cs"/>
        </a:defRPr>
      </a:lvl4pPr>
      <a:lvl5pPr marL="288003" indent="-288003" algn="l" defTabSz="914407" rtl="0" eaLnBrk="1" latinLnBrk="0" hangingPunct="1">
        <a:lnSpc>
          <a:spcPct val="108000"/>
        </a:lnSpc>
        <a:spcBef>
          <a:spcPts val="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&gt;"/>
        <a:tabLst>
          <a:tab pos="288003" algn="l"/>
          <a:tab pos="792005" algn="l"/>
        </a:tabLst>
        <a:defRPr sz="1999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504004" indent="-216001" algn="l" defTabSz="914407" rtl="0" eaLnBrk="1" latinLnBrk="0" hangingPunct="1">
        <a:lnSpc>
          <a:spcPct val="108000"/>
        </a:lnSpc>
        <a:spcBef>
          <a:spcPts val="0"/>
        </a:spcBef>
        <a:spcAft>
          <a:spcPts val="0"/>
        </a:spcAft>
        <a:buFont typeface="Wingdings" panose="05000000000000000000" pitchFamily="2" charset="2"/>
        <a:buChar char=""/>
        <a:tabLst>
          <a:tab pos="288003" algn="l"/>
          <a:tab pos="792005" algn="l"/>
        </a:tabLst>
        <a:defRPr sz="1999" b="0" kern="1200">
          <a:solidFill>
            <a:schemeClr val="tx1"/>
          </a:solidFill>
          <a:latin typeface="+mn-lt"/>
          <a:ea typeface="+mn-ea"/>
          <a:cs typeface="+mn-cs"/>
        </a:defRPr>
      </a:lvl6pPr>
      <a:lvl7pPr marL="288003" indent="-288003" algn="l" defTabSz="914407" rtl="0" eaLnBrk="1" latinLnBrk="0" hangingPunct="1">
        <a:lnSpc>
          <a:spcPct val="108000"/>
        </a:lnSpc>
        <a:spcBef>
          <a:spcPts val="0"/>
        </a:spcBef>
        <a:spcAft>
          <a:spcPts val="0"/>
        </a:spcAft>
        <a:buFont typeface="+mj-lt"/>
        <a:buAutoNum type="arabicPeriod"/>
        <a:tabLst>
          <a:tab pos="288003" algn="l"/>
          <a:tab pos="792005" algn="l"/>
        </a:tabLst>
        <a:defRPr sz="1999" b="0" kern="1200">
          <a:solidFill>
            <a:schemeClr val="tx1"/>
          </a:solidFill>
          <a:latin typeface="+mn-lt"/>
          <a:ea typeface="+mn-ea"/>
          <a:cs typeface="+mn-cs"/>
        </a:defRPr>
      </a:lvl7pPr>
      <a:lvl8pPr marL="288003" indent="0" algn="l" defTabSz="914407" rtl="0" eaLnBrk="1" latinLnBrk="0" hangingPunct="1">
        <a:lnSpc>
          <a:spcPct val="108000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tabLst>
          <a:tab pos="288003" algn="l"/>
          <a:tab pos="792005" algn="l"/>
        </a:tabLst>
        <a:defRPr sz="1999" b="0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7" rtl="0" eaLnBrk="1" latinLnBrk="0" hangingPunct="1">
        <a:lnSpc>
          <a:spcPct val="108000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tabLst>
          <a:tab pos="288003" algn="l"/>
          <a:tab pos="792005" algn="l"/>
        </a:tabLst>
        <a:defRPr sz="1999" b="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3" algn="l" defTabSz="91440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7" algn="l" defTabSz="91440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10" algn="l" defTabSz="91440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13" algn="l" defTabSz="91440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17" algn="l" defTabSz="91440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20" algn="l" defTabSz="91440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24" algn="l" defTabSz="91440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27" algn="l" defTabSz="91440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56">
          <p15:clr>
            <a:srgbClr val="F26B43"/>
          </p15:clr>
        </p15:guide>
        <p15:guide id="2" pos="7423">
          <p15:clr>
            <a:srgbClr val="F26B43"/>
          </p15:clr>
        </p15:guide>
        <p15:guide id="3" orient="horz" pos="1281">
          <p15:clr>
            <a:srgbClr val="F26B43"/>
          </p15:clr>
        </p15:guide>
        <p15:guide id="4" orient="horz" pos="566">
          <p15:clr>
            <a:srgbClr val="F26B43"/>
          </p15:clr>
        </p15:guide>
        <p15:guide id="5" orient="horz" pos="1110">
          <p15:clr>
            <a:srgbClr val="F26B43"/>
          </p15:clr>
        </p15:guide>
        <p15:guide id="6" orient="horz" pos="3932">
          <p15:clr>
            <a:srgbClr val="F26B43"/>
          </p15:clr>
        </p15:guide>
        <p15:guide id="7" orient="horz" pos="1321">
          <p15:clr>
            <a:srgbClr val="547EBF"/>
          </p15:clr>
        </p15:guide>
        <p15:guide id="8" orient="horz" pos="611">
          <p15:clr>
            <a:srgbClr val="547EBF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2.png"/><Relationship Id="rId3" Type="http://schemas.openxmlformats.org/officeDocument/2006/relationships/customXml" Target="../ink/ink47.xml"/><Relationship Id="rId7" Type="http://schemas.openxmlformats.org/officeDocument/2006/relationships/customXml" Target="../ink/ink49.xml"/><Relationship Id="rId12" Type="http://schemas.openxmlformats.org/officeDocument/2006/relationships/image" Target="../media/image64.png"/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61.png"/><Relationship Id="rId11" Type="http://schemas.openxmlformats.org/officeDocument/2006/relationships/customXml" Target="../ink/ink51.xml"/><Relationship Id="rId5" Type="http://schemas.openxmlformats.org/officeDocument/2006/relationships/customXml" Target="../ink/ink48.xml"/><Relationship Id="rId10" Type="http://schemas.openxmlformats.org/officeDocument/2006/relationships/image" Target="../media/image63.png"/><Relationship Id="rId4" Type="http://schemas.openxmlformats.org/officeDocument/2006/relationships/image" Target="../media/image60.png"/><Relationship Id="rId9" Type="http://schemas.openxmlformats.org/officeDocument/2006/relationships/customXml" Target="../ink/ink50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8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5.png"/><Relationship Id="rId1" Type="http://schemas.openxmlformats.org/officeDocument/2006/relationships/slideLayout" Target="../slideLayouts/slideLayout8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26" Type="http://schemas.openxmlformats.org/officeDocument/2006/relationships/image" Target="../media/image24.png"/><Relationship Id="rId21" Type="http://schemas.openxmlformats.org/officeDocument/2006/relationships/customXml" Target="../ink/ink10.xml"/><Relationship Id="rId42" Type="http://schemas.openxmlformats.org/officeDocument/2006/relationships/image" Target="../media/image32.png"/><Relationship Id="rId47" Type="http://schemas.openxmlformats.org/officeDocument/2006/relationships/customXml" Target="../ink/ink23.xml"/><Relationship Id="rId63" Type="http://schemas.openxmlformats.org/officeDocument/2006/relationships/customXml" Target="../ink/ink31.xml"/><Relationship Id="rId68" Type="http://schemas.openxmlformats.org/officeDocument/2006/relationships/image" Target="../media/image45.png"/><Relationship Id="rId2" Type="http://schemas.openxmlformats.org/officeDocument/2006/relationships/image" Target="../media/image12.png"/><Relationship Id="rId16" Type="http://schemas.openxmlformats.org/officeDocument/2006/relationships/image" Target="../media/image19.png"/><Relationship Id="rId29" Type="http://schemas.openxmlformats.org/officeDocument/2006/relationships/customXml" Target="../ink/ink14.xml"/><Relationship Id="rId11" Type="http://schemas.openxmlformats.org/officeDocument/2006/relationships/customXml" Target="../ink/ink5.xml"/><Relationship Id="rId24" Type="http://schemas.openxmlformats.org/officeDocument/2006/relationships/image" Target="../media/image23.png"/><Relationship Id="rId32" Type="http://schemas.openxmlformats.org/officeDocument/2006/relationships/image" Target="../media/image27.png"/><Relationship Id="rId37" Type="http://schemas.openxmlformats.org/officeDocument/2006/relationships/customXml" Target="../ink/ink18.xml"/><Relationship Id="rId40" Type="http://schemas.openxmlformats.org/officeDocument/2006/relationships/image" Target="../media/image31.png"/><Relationship Id="rId45" Type="http://schemas.openxmlformats.org/officeDocument/2006/relationships/customXml" Target="../ink/ink22.xml"/><Relationship Id="rId53" Type="http://schemas.openxmlformats.org/officeDocument/2006/relationships/customXml" Target="../ink/ink26.xml"/><Relationship Id="rId58" Type="http://schemas.openxmlformats.org/officeDocument/2006/relationships/image" Target="../media/image40.png"/><Relationship Id="rId66" Type="http://schemas.openxmlformats.org/officeDocument/2006/relationships/image" Target="../media/image44.png"/><Relationship Id="rId74" Type="http://schemas.openxmlformats.org/officeDocument/2006/relationships/image" Target="../media/image48.png"/><Relationship Id="rId5" Type="http://schemas.openxmlformats.org/officeDocument/2006/relationships/customXml" Target="../ink/ink2.xml"/><Relationship Id="rId61" Type="http://schemas.openxmlformats.org/officeDocument/2006/relationships/customXml" Target="../ink/ink30.xml"/><Relationship Id="rId19" Type="http://schemas.openxmlformats.org/officeDocument/2006/relationships/customXml" Target="../ink/ink9.xml"/><Relationship Id="rId14" Type="http://schemas.openxmlformats.org/officeDocument/2006/relationships/image" Target="../media/image18.png"/><Relationship Id="rId22" Type="http://schemas.openxmlformats.org/officeDocument/2006/relationships/image" Target="../media/image22.png"/><Relationship Id="rId27" Type="http://schemas.openxmlformats.org/officeDocument/2006/relationships/customXml" Target="../ink/ink13.xml"/><Relationship Id="rId30" Type="http://schemas.openxmlformats.org/officeDocument/2006/relationships/image" Target="../media/image26.png"/><Relationship Id="rId35" Type="http://schemas.openxmlformats.org/officeDocument/2006/relationships/customXml" Target="../ink/ink17.xml"/><Relationship Id="rId43" Type="http://schemas.openxmlformats.org/officeDocument/2006/relationships/customXml" Target="../ink/ink21.xml"/><Relationship Id="rId48" Type="http://schemas.openxmlformats.org/officeDocument/2006/relationships/image" Target="../media/image35.png"/><Relationship Id="rId56" Type="http://schemas.openxmlformats.org/officeDocument/2006/relationships/image" Target="../media/image39.png"/><Relationship Id="rId64" Type="http://schemas.openxmlformats.org/officeDocument/2006/relationships/image" Target="../media/image43.png"/><Relationship Id="rId69" Type="http://schemas.openxmlformats.org/officeDocument/2006/relationships/customXml" Target="../ink/ink34.xml"/><Relationship Id="rId8" Type="http://schemas.openxmlformats.org/officeDocument/2006/relationships/image" Target="../media/image15.png"/><Relationship Id="rId51" Type="http://schemas.openxmlformats.org/officeDocument/2006/relationships/customXml" Target="../ink/ink25.xml"/><Relationship Id="rId72" Type="http://schemas.openxmlformats.org/officeDocument/2006/relationships/image" Target="../media/image47.png"/><Relationship Id="rId3" Type="http://schemas.openxmlformats.org/officeDocument/2006/relationships/customXml" Target="../ink/ink1.xml"/><Relationship Id="rId12" Type="http://schemas.openxmlformats.org/officeDocument/2006/relationships/image" Target="../media/image17.png"/><Relationship Id="rId17" Type="http://schemas.openxmlformats.org/officeDocument/2006/relationships/customXml" Target="../ink/ink8.xml"/><Relationship Id="rId25" Type="http://schemas.openxmlformats.org/officeDocument/2006/relationships/customXml" Target="../ink/ink12.xml"/><Relationship Id="rId33" Type="http://schemas.openxmlformats.org/officeDocument/2006/relationships/customXml" Target="../ink/ink16.xml"/><Relationship Id="rId38" Type="http://schemas.openxmlformats.org/officeDocument/2006/relationships/image" Target="../media/image30.png"/><Relationship Id="rId46" Type="http://schemas.openxmlformats.org/officeDocument/2006/relationships/image" Target="../media/image34.png"/><Relationship Id="rId59" Type="http://schemas.openxmlformats.org/officeDocument/2006/relationships/customXml" Target="../ink/ink29.xml"/><Relationship Id="rId67" Type="http://schemas.openxmlformats.org/officeDocument/2006/relationships/customXml" Target="../ink/ink33.xml"/><Relationship Id="rId20" Type="http://schemas.openxmlformats.org/officeDocument/2006/relationships/image" Target="../media/image21.png"/><Relationship Id="rId41" Type="http://schemas.openxmlformats.org/officeDocument/2006/relationships/customXml" Target="../ink/ink20.xml"/><Relationship Id="rId54" Type="http://schemas.openxmlformats.org/officeDocument/2006/relationships/image" Target="../media/image38.png"/><Relationship Id="rId62" Type="http://schemas.openxmlformats.org/officeDocument/2006/relationships/image" Target="../media/image42.png"/><Relationship Id="rId70" Type="http://schemas.openxmlformats.org/officeDocument/2006/relationships/image" Target="../media/image46.png"/><Relationship Id="rId75" Type="http://schemas.openxmlformats.org/officeDocument/2006/relationships/customXml" Target="../ink/ink37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4.png"/><Relationship Id="rId15" Type="http://schemas.openxmlformats.org/officeDocument/2006/relationships/customXml" Target="../ink/ink7.xml"/><Relationship Id="rId23" Type="http://schemas.openxmlformats.org/officeDocument/2006/relationships/customXml" Target="../ink/ink11.xml"/><Relationship Id="rId28" Type="http://schemas.openxmlformats.org/officeDocument/2006/relationships/image" Target="../media/image25.png"/><Relationship Id="rId36" Type="http://schemas.openxmlformats.org/officeDocument/2006/relationships/image" Target="../media/image29.png"/><Relationship Id="rId49" Type="http://schemas.openxmlformats.org/officeDocument/2006/relationships/customXml" Target="../ink/ink24.xml"/><Relationship Id="rId57" Type="http://schemas.openxmlformats.org/officeDocument/2006/relationships/customXml" Target="../ink/ink28.xml"/><Relationship Id="rId10" Type="http://schemas.openxmlformats.org/officeDocument/2006/relationships/image" Target="../media/image16.png"/><Relationship Id="rId31" Type="http://schemas.openxmlformats.org/officeDocument/2006/relationships/customXml" Target="../ink/ink15.xml"/><Relationship Id="rId44" Type="http://schemas.openxmlformats.org/officeDocument/2006/relationships/image" Target="../media/image33.png"/><Relationship Id="rId52" Type="http://schemas.openxmlformats.org/officeDocument/2006/relationships/image" Target="../media/image37.png"/><Relationship Id="rId60" Type="http://schemas.openxmlformats.org/officeDocument/2006/relationships/image" Target="../media/image41.png"/><Relationship Id="rId65" Type="http://schemas.openxmlformats.org/officeDocument/2006/relationships/customXml" Target="../ink/ink32.xml"/><Relationship Id="rId73" Type="http://schemas.openxmlformats.org/officeDocument/2006/relationships/customXml" Target="../ink/ink36.xml"/><Relationship Id="rId4" Type="http://schemas.openxmlformats.org/officeDocument/2006/relationships/image" Target="../media/image13.png"/><Relationship Id="rId9" Type="http://schemas.openxmlformats.org/officeDocument/2006/relationships/customXml" Target="../ink/ink4.xml"/><Relationship Id="rId13" Type="http://schemas.openxmlformats.org/officeDocument/2006/relationships/customXml" Target="../ink/ink6.xml"/><Relationship Id="rId18" Type="http://schemas.openxmlformats.org/officeDocument/2006/relationships/image" Target="../media/image20.png"/><Relationship Id="rId39" Type="http://schemas.openxmlformats.org/officeDocument/2006/relationships/customXml" Target="../ink/ink19.xml"/><Relationship Id="rId34" Type="http://schemas.openxmlformats.org/officeDocument/2006/relationships/image" Target="../media/image28.png"/><Relationship Id="rId50" Type="http://schemas.openxmlformats.org/officeDocument/2006/relationships/image" Target="../media/image36.png"/><Relationship Id="rId55" Type="http://schemas.openxmlformats.org/officeDocument/2006/relationships/customXml" Target="../ink/ink27.xml"/><Relationship Id="rId76" Type="http://schemas.openxmlformats.org/officeDocument/2006/relationships/image" Target="../media/image49.png"/><Relationship Id="rId7" Type="http://schemas.openxmlformats.org/officeDocument/2006/relationships/customXml" Target="../ink/ink3.xml"/><Relationship Id="rId71" Type="http://schemas.openxmlformats.org/officeDocument/2006/relationships/customXml" Target="../ink/ink35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3.png"/><Relationship Id="rId13" Type="http://schemas.openxmlformats.org/officeDocument/2006/relationships/customXml" Target="../ink/ink43.xml"/><Relationship Id="rId18" Type="http://schemas.openxmlformats.org/officeDocument/2006/relationships/image" Target="../media/image58.png"/><Relationship Id="rId3" Type="http://schemas.openxmlformats.org/officeDocument/2006/relationships/customXml" Target="../ink/ink38.xml"/><Relationship Id="rId7" Type="http://schemas.openxmlformats.org/officeDocument/2006/relationships/customXml" Target="../ink/ink40.xml"/><Relationship Id="rId12" Type="http://schemas.openxmlformats.org/officeDocument/2006/relationships/image" Target="../media/image55.png"/><Relationship Id="rId17" Type="http://schemas.openxmlformats.org/officeDocument/2006/relationships/customXml" Target="../ink/ink45.xml"/><Relationship Id="rId2" Type="http://schemas.openxmlformats.org/officeDocument/2006/relationships/image" Target="../media/image13.jpeg"/><Relationship Id="rId16" Type="http://schemas.openxmlformats.org/officeDocument/2006/relationships/image" Target="../media/image57.png"/><Relationship Id="rId20" Type="http://schemas.openxmlformats.org/officeDocument/2006/relationships/image" Target="../media/image59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52.png"/><Relationship Id="rId11" Type="http://schemas.openxmlformats.org/officeDocument/2006/relationships/customXml" Target="../ink/ink42.xml"/><Relationship Id="rId5" Type="http://schemas.openxmlformats.org/officeDocument/2006/relationships/customXml" Target="../ink/ink39.xml"/><Relationship Id="rId15" Type="http://schemas.openxmlformats.org/officeDocument/2006/relationships/customXml" Target="../ink/ink44.xml"/><Relationship Id="rId10" Type="http://schemas.openxmlformats.org/officeDocument/2006/relationships/image" Target="../media/image54.png"/><Relationship Id="rId19" Type="http://schemas.openxmlformats.org/officeDocument/2006/relationships/customXml" Target="../ink/ink46.xml"/><Relationship Id="rId4" Type="http://schemas.openxmlformats.org/officeDocument/2006/relationships/image" Target="../media/image51.png"/><Relationship Id="rId9" Type="http://schemas.openxmlformats.org/officeDocument/2006/relationships/customXml" Target="../ink/ink41.xml"/><Relationship Id="rId14" Type="http://schemas.openxmlformats.org/officeDocument/2006/relationships/image" Target="../media/image5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fik 10">
            <a:extLst>
              <a:ext uri="{FF2B5EF4-FFF2-40B4-BE49-F238E27FC236}">
                <a16:creationId xmlns:a16="http://schemas.microsoft.com/office/drawing/2014/main" id="{ED943A1B-BB85-ECB2-A516-E66752142296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-17750" b="19554"/>
          <a:stretch/>
        </p:blipFill>
        <p:spPr>
          <a:xfrm>
            <a:off x="14444" y="-1231900"/>
            <a:ext cx="12190256" cy="6858001"/>
          </a:xfrm>
          <a:prstGeom prst="rect">
            <a:avLst/>
          </a:prstGeom>
        </p:spPr>
      </p:pic>
      <p:sp>
        <p:nvSpPr>
          <p:cNvPr id="33" name="Titel 32">
            <a:extLst>
              <a:ext uri="{FF2B5EF4-FFF2-40B4-BE49-F238E27FC236}">
                <a16:creationId xmlns:a16="http://schemas.microsoft.com/office/drawing/2014/main" id="{F629E931-35B5-4C35-9E4F-4B92E956C043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/>
              <a:t>Pylint</a:t>
            </a:r>
          </a:p>
        </p:txBody>
      </p:sp>
      <p:sp>
        <p:nvSpPr>
          <p:cNvPr id="24" name="Fußzeilenplatzhalter 23">
            <a:extLst>
              <a:ext uri="{FF2B5EF4-FFF2-40B4-BE49-F238E27FC236}">
                <a16:creationId xmlns:a16="http://schemas.microsoft.com/office/drawing/2014/main" id="{3DD6F4B0-34A5-408D-AD3F-79F847C4B47F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Oliver Daub Dennis Stehle und Robin Starkl | Pylint Workshop | WIN | WiSe 22/3</a:t>
            </a:r>
          </a:p>
        </p:txBody>
      </p:sp>
      <p:sp>
        <p:nvSpPr>
          <p:cNvPr id="25" name="Foliennummernplatzhalter 24">
            <a:extLst>
              <a:ext uri="{FF2B5EF4-FFF2-40B4-BE49-F238E27FC236}">
                <a16:creationId xmlns:a16="http://schemas.microsoft.com/office/drawing/2014/main" id="{D60707B2-C1C4-4B3E-B56F-7FC8651F3EC3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r>
              <a:rPr lang="de-DE"/>
              <a:t>|  </a:t>
            </a:r>
            <a:fld id="{E6B5151A-17C4-4431-8407-112C0160A8B6}" type="slidenum">
              <a:rPr lang="de-DE" smtClean="0"/>
              <a:pPr/>
              <a:t>1</a:t>
            </a:fld>
            <a:endParaRPr lang="de-DE"/>
          </a:p>
        </p:txBody>
      </p:sp>
      <p:sp>
        <p:nvSpPr>
          <p:cNvPr id="35" name="Vertikaler Textplatzhalter 34">
            <a:extLst>
              <a:ext uri="{FF2B5EF4-FFF2-40B4-BE49-F238E27FC236}">
                <a16:creationId xmlns:a16="http://schemas.microsoft.com/office/drawing/2014/main" id="{AD697CB5-A06F-4E3D-9B1D-CC9CE71BD81D}"/>
              </a:ext>
            </a:extLst>
          </p:cNvPr>
          <p:cNvSpPr>
            <a:spLocks noGrp="1"/>
          </p:cNvSpPr>
          <p:nvPr>
            <p:ph type="body" orient="vert" idx="19"/>
          </p:nvPr>
        </p:nvSpPr>
        <p:spPr>
          <a:xfrm>
            <a:off x="1386000" y="5490394"/>
            <a:ext cx="10397484" cy="818607"/>
          </a:xfrm>
        </p:spPr>
        <p:txBody>
          <a:bodyPr/>
          <a:lstStyle/>
          <a:p>
            <a:r>
              <a:rPr lang="de-DE"/>
              <a:t>Fallstudie Entwicklungswerkzeuge</a:t>
            </a:r>
          </a:p>
        </p:txBody>
      </p:sp>
      <p:sp>
        <p:nvSpPr>
          <p:cNvPr id="36" name="Vertikaler Textplatzhalter 35">
            <a:extLst>
              <a:ext uri="{FF2B5EF4-FFF2-40B4-BE49-F238E27FC236}">
                <a16:creationId xmlns:a16="http://schemas.microsoft.com/office/drawing/2014/main" id="{5D5168B9-E752-43E9-9E15-A09B8530A521}"/>
              </a:ext>
            </a:extLst>
          </p:cNvPr>
          <p:cNvSpPr>
            <a:spLocks noGrp="1"/>
          </p:cNvSpPr>
          <p:nvPr>
            <p:ph type="body" orient="vert" idx="2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910B6C70-898C-424C-AE37-E0C9137192E7}"/>
              </a:ext>
            </a:extLst>
          </p:cNvPr>
          <p:cNvSpPr>
            <a:spLocks noGrp="1"/>
          </p:cNvSpPr>
          <p:nvPr>
            <p:ph type="body" orient="vert" idx="2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3540BC1C-C283-4710-BF53-5CA8ADFC9742}"/>
              </a:ext>
            </a:extLst>
          </p:cNvPr>
          <p:cNvSpPr txBox="1"/>
          <p:nvPr/>
        </p:nvSpPr>
        <p:spPr>
          <a:xfrm>
            <a:off x="8301499" y="4338824"/>
            <a:ext cx="3888757" cy="184666"/>
          </a:xfrm>
          <a:prstGeom prst="rect">
            <a:avLst/>
          </a:prstGeom>
          <a:noFill/>
        </p:spPr>
        <p:txBody>
          <a:bodyPr wrap="square" rIns="72000" rtlCol="0">
            <a:spAutoFit/>
          </a:bodyPr>
          <a:lstStyle/>
          <a:p>
            <a:pPr algn="r"/>
            <a:r>
              <a:rPr lang="de-DE" sz="600">
                <a:solidFill>
                  <a:schemeClr val="bg1"/>
                </a:solidFill>
              </a:rPr>
              <a:t>Bildquelle: https://sitefactory.com.br/marketing-digital/startups-utilizam-marketing-digital-ao-seu-favor/</a:t>
            </a:r>
          </a:p>
        </p:txBody>
      </p:sp>
    </p:spTree>
    <p:extLst>
      <p:ext uri="{BB962C8B-B14F-4D97-AF65-F5344CB8AC3E}">
        <p14:creationId xmlns:p14="http://schemas.microsoft.com/office/powerpoint/2010/main" val="133823327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B4A332A-0438-519F-4F62-2071DDB4FD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6401" y="6515213"/>
            <a:ext cx="8813273" cy="216000"/>
          </a:xfrm>
        </p:spPr>
        <p:txBody>
          <a:bodyPr anchor="t">
            <a:normAutofit/>
          </a:bodyPr>
          <a:lstStyle/>
          <a:p>
            <a:pPr>
              <a:spcAft>
                <a:spcPts val="600"/>
              </a:spcAft>
            </a:pPr>
            <a:r>
              <a:rPr lang="de-DE"/>
              <a:t>Oliver Daub Dennis Stehle und Robin Starkl | Pylint Workshop | WIN | WiSe 22/3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272DBFBF-0C3A-F61B-A357-C50BD6C527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883778" y="6515213"/>
            <a:ext cx="1899711" cy="216000"/>
          </a:xfrm>
        </p:spPr>
        <p:txBody>
          <a:bodyPr anchor="t">
            <a:normAutofit/>
          </a:bodyPr>
          <a:lstStyle/>
          <a:p>
            <a:pPr>
              <a:spcAft>
                <a:spcPts val="600"/>
              </a:spcAft>
            </a:pPr>
            <a:r>
              <a:rPr lang="de-DE"/>
              <a:t>|  </a:t>
            </a:r>
            <a:fld id="{E6B5151A-17C4-4431-8407-112C0160A8B6}" type="slidenum">
              <a:rPr lang="de-DE" smtClean="0"/>
              <a:pPr>
                <a:spcAft>
                  <a:spcPts val="600"/>
                </a:spcAft>
              </a:pPr>
              <a:t>10</a:t>
            </a:fld>
            <a:endParaRPr lang="de-DE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56FD4F9C-7EA2-B949-8EE8-8112F3A860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6405" y="898525"/>
            <a:ext cx="11377084" cy="863600"/>
          </a:xfrm>
        </p:spPr>
        <p:txBody>
          <a:bodyPr anchor="t">
            <a:normAutofit/>
          </a:bodyPr>
          <a:lstStyle/>
          <a:p>
            <a:r>
              <a:rPr lang="de-DE"/>
              <a:t>Aufgabe 1 – </a:t>
            </a:r>
            <a:r>
              <a:rPr lang="de-DE" err="1"/>
              <a:t>Pylint</a:t>
            </a:r>
            <a:r>
              <a:rPr lang="de-DE"/>
              <a:t> ausführen</a:t>
            </a:r>
            <a:endParaRPr lang="en-US"/>
          </a:p>
        </p:txBody>
      </p:sp>
      <p:sp>
        <p:nvSpPr>
          <p:cNvPr id="12" name="Content Placeholder 4">
            <a:extLst>
              <a:ext uri="{FF2B5EF4-FFF2-40B4-BE49-F238E27FC236}">
                <a16:creationId xmlns:a16="http://schemas.microsoft.com/office/drawing/2014/main" id="{7180B4F0-FEAF-C77A-2B5D-2094473840C6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06405" y="2033591"/>
            <a:ext cx="11377084" cy="4210049"/>
          </a:xfrm>
        </p:spPr>
        <p:txBody>
          <a:bodyPr/>
          <a:lstStyle/>
          <a:p>
            <a:pPr>
              <a:spcAft>
                <a:spcPts val="1998"/>
              </a:spcAft>
            </a:pPr>
            <a:r>
              <a:rPr lang="en-US" sz="2200">
                <a:latin typeface="Consolas"/>
                <a:cs typeface="Arial"/>
              </a:rPr>
              <a:t>(C) convention, für </a:t>
            </a:r>
            <a:r>
              <a:rPr lang="en-US" sz="2200" err="1">
                <a:latin typeface="Consolas"/>
                <a:cs typeface="Arial"/>
              </a:rPr>
              <a:t>nicht</a:t>
            </a:r>
            <a:r>
              <a:rPr lang="en-US" sz="2200">
                <a:latin typeface="Consolas"/>
                <a:cs typeface="Arial"/>
              </a:rPr>
              <a:t> </a:t>
            </a:r>
            <a:r>
              <a:rPr lang="en-US" sz="2200" err="1">
                <a:latin typeface="Consolas"/>
                <a:cs typeface="Arial"/>
              </a:rPr>
              <a:t>eingehaltende</a:t>
            </a:r>
            <a:r>
              <a:rPr lang="en-US" sz="2200">
                <a:latin typeface="Consolas"/>
                <a:cs typeface="Arial"/>
              </a:rPr>
              <a:t> Standards
(R) refactor, für "bad code smell"
(W) warning, für python-</a:t>
            </a:r>
            <a:r>
              <a:rPr lang="en-US" sz="2200" err="1">
                <a:latin typeface="Consolas"/>
                <a:cs typeface="Arial"/>
              </a:rPr>
              <a:t>spezifische</a:t>
            </a:r>
            <a:r>
              <a:rPr lang="en-US" sz="2200">
                <a:latin typeface="Consolas"/>
                <a:cs typeface="Arial"/>
              </a:rPr>
              <a:t> </a:t>
            </a:r>
            <a:br>
              <a:rPr lang="en-US" sz="2200">
                <a:latin typeface="Consolas"/>
                <a:cs typeface="Arial"/>
              </a:rPr>
            </a:br>
            <a:r>
              <a:rPr lang="en-US" sz="2200">
                <a:latin typeface="Consolas"/>
                <a:cs typeface="Arial"/>
              </a:rPr>
              <a:t>    </a:t>
            </a:r>
            <a:r>
              <a:rPr lang="en-US" sz="2200" err="1">
                <a:latin typeface="Consolas"/>
                <a:cs typeface="Arial"/>
              </a:rPr>
              <a:t>Probleme</a:t>
            </a:r>
            <a:r>
              <a:rPr lang="en-US" sz="2200">
                <a:latin typeface="Consolas"/>
                <a:cs typeface="Arial"/>
              </a:rPr>
              <a:t>
(E) error, für </a:t>
            </a:r>
            <a:r>
              <a:rPr lang="en-US" sz="2200" err="1">
                <a:latin typeface="Consolas"/>
                <a:cs typeface="Arial"/>
              </a:rPr>
              <a:t>mögliche</a:t>
            </a:r>
            <a:r>
              <a:rPr lang="en-US" sz="2200">
                <a:latin typeface="Consolas"/>
                <a:cs typeface="Arial"/>
              </a:rPr>
              <a:t> Bugs </a:t>
            </a:r>
            <a:r>
              <a:rPr lang="en-US" sz="2200" err="1">
                <a:latin typeface="Consolas"/>
                <a:cs typeface="Arial"/>
              </a:rPr>
              <a:t>im</a:t>
            </a:r>
            <a:r>
              <a:rPr lang="en-US" sz="2200">
                <a:latin typeface="Consolas"/>
                <a:cs typeface="Arial"/>
              </a:rPr>
              <a:t> Code
(F) fatal, falls </a:t>
            </a:r>
            <a:r>
              <a:rPr lang="en-US" sz="2200" err="1">
                <a:latin typeface="Consolas"/>
                <a:cs typeface="Arial"/>
              </a:rPr>
              <a:t>ein</a:t>
            </a:r>
            <a:r>
              <a:rPr lang="en-US" sz="2200">
                <a:latin typeface="Consolas"/>
                <a:cs typeface="Arial"/>
              </a:rPr>
              <a:t> Error </a:t>
            </a:r>
            <a:r>
              <a:rPr lang="en-US" sz="2200" err="1">
                <a:latin typeface="Consolas"/>
                <a:cs typeface="Arial"/>
              </a:rPr>
              <a:t>ensteht</a:t>
            </a:r>
            <a:r>
              <a:rPr lang="en-US" sz="2200">
                <a:latin typeface="Consolas"/>
                <a:cs typeface="Arial"/>
              </a:rPr>
              <a:t>, </a:t>
            </a:r>
            <a:br>
              <a:rPr lang="en-US" sz="2200">
                <a:latin typeface="Consolas"/>
                <a:cs typeface="Arial"/>
              </a:rPr>
            </a:br>
            <a:r>
              <a:rPr lang="en-US" sz="2200">
                <a:latin typeface="Consolas"/>
                <a:cs typeface="Arial"/>
              </a:rPr>
              <a:t>    welches die </a:t>
            </a:r>
            <a:r>
              <a:rPr lang="en-US" sz="2200" err="1">
                <a:latin typeface="Consolas"/>
                <a:cs typeface="Arial"/>
              </a:rPr>
              <a:t>Ausführung</a:t>
            </a:r>
            <a:r>
              <a:rPr lang="en-US" sz="2200">
                <a:latin typeface="Consolas"/>
                <a:cs typeface="Arial"/>
              </a:rPr>
              <a:t> von </a:t>
            </a:r>
            <a:r>
              <a:rPr lang="en-US" sz="2200" err="1">
                <a:latin typeface="Consolas"/>
                <a:cs typeface="Arial"/>
              </a:rPr>
              <a:t>Pylint</a:t>
            </a:r>
            <a:br>
              <a:rPr lang="en-US" sz="2200">
                <a:latin typeface="Consolas"/>
                <a:cs typeface="Arial"/>
              </a:rPr>
            </a:br>
            <a:r>
              <a:rPr lang="en-US" sz="2200">
                <a:latin typeface="Consolas"/>
                <a:cs typeface="Arial"/>
              </a:rPr>
              <a:t>    </a:t>
            </a:r>
            <a:r>
              <a:rPr lang="en-US" sz="2200" err="1">
                <a:latin typeface="Consolas"/>
                <a:cs typeface="Arial"/>
              </a:rPr>
              <a:t>verhindert</a:t>
            </a:r>
            <a:endParaRPr lang="en-US" sz="2200" b="1" err="1">
              <a:latin typeface="Consolas"/>
              <a:cs typeface="Arial"/>
            </a:endParaRPr>
          </a:p>
        </p:txBody>
      </p:sp>
      <p:pic>
        <p:nvPicPr>
          <p:cNvPr id="6" name="Picture 6" descr="Text&#10;&#10;Description automatically generated">
            <a:extLst>
              <a:ext uri="{FF2B5EF4-FFF2-40B4-BE49-F238E27FC236}">
                <a16:creationId xmlns:a16="http://schemas.microsoft.com/office/drawing/2014/main" id="{CDFEEEF7-F2EC-1C31-F2D2-E2D0435D5D6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168382" y="2530426"/>
            <a:ext cx="5747835" cy="3072084"/>
          </a:xfrm>
          <a:prstGeom prst="rect">
            <a:avLst/>
          </a:prstGeom>
        </p:spPr>
      </p:pic>
      <mc:AlternateContent xmlns:mc="http://schemas.openxmlformats.org/markup-compatibility/2006" xmlns:p14="http://schemas.microsoft.com/office/powerpoint/2010/main">
        <mc:Choice Requires="p14">
          <p:contentPart p14:bwMode="auto" r:id="rId3">
            <p14:nvContentPartPr>
              <p14:cNvPr id="9" name="Ink 8">
                <a:extLst>
                  <a:ext uri="{FF2B5EF4-FFF2-40B4-BE49-F238E27FC236}">
                    <a16:creationId xmlns:a16="http://schemas.microsoft.com/office/drawing/2014/main" id="{38BF86C5-093D-A4A6-EDBF-996B0B0F344E}"/>
                  </a:ext>
                </a:extLst>
              </p14:cNvPr>
              <p14:cNvContentPartPr/>
              <p14:nvPr/>
            </p14:nvContentPartPr>
            <p14:xfrm>
              <a:off x="7859201" y="2664771"/>
              <a:ext cx="504974" cy="11679"/>
            </p14:xfrm>
          </p:contentPart>
        </mc:Choice>
        <mc:Fallback xmlns="">
          <p:pic>
            <p:nvPicPr>
              <p:cNvPr id="9" name="Ink 8">
                <a:extLst>
                  <a:ext uri="{FF2B5EF4-FFF2-40B4-BE49-F238E27FC236}">
                    <a16:creationId xmlns:a16="http://schemas.microsoft.com/office/drawing/2014/main" id="{38BF86C5-093D-A4A6-EDBF-996B0B0F344E}"/>
                  </a:ext>
                </a:extLst>
              </p:cNvPr>
              <p:cNvPicPr/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7841218" y="2647596"/>
                <a:ext cx="540581" cy="45686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5">
            <p14:nvContentPartPr>
              <p14:cNvPr id="10" name="Ink 9">
                <a:extLst>
                  <a:ext uri="{FF2B5EF4-FFF2-40B4-BE49-F238E27FC236}">
                    <a16:creationId xmlns:a16="http://schemas.microsoft.com/office/drawing/2014/main" id="{CB5C2F44-22D9-8F1E-C933-94998C6005C7}"/>
                  </a:ext>
                </a:extLst>
              </p14:cNvPr>
              <p14:cNvContentPartPr/>
              <p14:nvPr/>
            </p14:nvContentPartPr>
            <p14:xfrm>
              <a:off x="7856175" y="2678140"/>
              <a:ext cx="8912" cy="8912"/>
            </p14:xfrm>
          </p:contentPart>
        </mc:Choice>
        <mc:Fallback xmlns="">
          <p:pic>
            <p:nvPicPr>
              <p:cNvPr id="10" name="Ink 9">
                <a:extLst>
                  <a:ext uri="{FF2B5EF4-FFF2-40B4-BE49-F238E27FC236}">
                    <a16:creationId xmlns:a16="http://schemas.microsoft.com/office/drawing/2014/main" id="{CB5C2F44-22D9-8F1E-C933-94998C6005C7}"/>
                  </a:ext>
                </a:extLst>
              </p:cNvPr>
              <p:cNvPicPr/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7410575" y="2232540"/>
                <a:ext cx="891200" cy="8912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7">
            <p14:nvContentPartPr>
              <p14:cNvPr id="11" name="Ink 10">
                <a:extLst>
                  <a:ext uri="{FF2B5EF4-FFF2-40B4-BE49-F238E27FC236}">
                    <a16:creationId xmlns:a16="http://schemas.microsoft.com/office/drawing/2014/main" id="{19041535-0C89-C288-C66D-7F016003A763}"/>
                  </a:ext>
                </a:extLst>
              </p14:cNvPr>
              <p14:cNvContentPartPr/>
              <p14:nvPr/>
            </p14:nvContentPartPr>
            <p14:xfrm>
              <a:off x="7719356" y="2593473"/>
              <a:ext cx="213842" cy="122757"/>
            </p14:xfrm>
          </p:contentPart>
        </mc:Choice>
        <mc:Fallback xmlns="">
          <p:pic>
            <p:nvPicPr>
              <p:cNvPr id="11" name="Ink 10">
                <a:extLst>
                  <a:ext uri="{FF2B5EF4-FFF2-40B4-BE49-F238E27FC236}">
                    <a16:creationId xmlns:a16="http://schemas.microsoft.com/office/drawing/2014/main" id="{19041535-0C89-C288-C66D-7F016003A763}"/>
                  </a:ext>
                </a:extLst>
              </p:cNvPr>
              <p:cNvPicPr/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7701386" y="2575526"/>
                <a:ext cx="249422" cy="158292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9">
            <p14:nvContentPartPr>
              <p14:cNvPr id="13" name="Ink 12">
                <a:extLst>
                  <a:ext uri="{FF2B5EF4-FFF2-40B4-BE49-F238E27FC236}">
                    <a16:creationId xmlns:a16="http://schemas.microsoft.com/office/drawing/2014/main" id="{2B7B9308-27D0-DBCA-0CB1-142C951CDCB2}"/>
                  </a:ext>
                </a:extLst>
              </p14:cNvPr>
              <p14:cNvContentPartPr/>
              <p14:nvPr/>
            </p14:nvContentPartPr>
            <p14:xfrm>
              <a:off x="8132831" y="4148398"/>
              <a:ext cx="694782" cy="9180"/>
            </p14:xfrm>
          </p:contentPart>
        </mc:Choice>
        <mc:Fallback xmlns="">
          <p:pic>
            <p:nvPicPr>
              <p:cNvPr id="13" name="Ink 12">
                <a:extLst>
                  <a:ext uri="{FF2B5EF4-FFF2-40B4-BE49-F238E27FC236}">
                    <a16:creationId xmlns:a16="http://schemas.microsoft.com/office/drawing/2014/main" id="{2B7B9308-27D0-DBCA-0CB1-142C951CDCB2}"/>
                  </a:ext>
                </a:extLst>
              </p:cNvPr>
              <p:cNvPicPr/>
              <p:nvPr/>
            </p:nvPicPr>
            <p:blipFill>
              <a:blip r:embed="rId10"/>
              <a:stretch>
                <a:fillRect/>
              </a:stretch>
            </p:blipFill>
            <p:spPr>
              <a:xfrm>
                <a:off x="8114841" y="4130744"/>
                <a:ext cx="730403" cy="44135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11">
            <p14:nvContentPartPr>
              <p14:cNvPr id="14" name="Ink 13">
                <a:extLst>
                  <a:ext uri="{FF2B5EF4-FFF2-40B4-BE49-F238E27FC236}">
                    <a16:creationId xmlns:a16="http://schemas.microsoft.com/office/drawing/2014/main" id="{96108BD0-AE04-843F-42AD-28980107B995}"/>
                  </a:ext>
                </a:extLst>
              </p14:cNvPr>
              <p14:cNvContentPartPr/>
              <p14:nvPr/>
            </p14:nvContentPartPr>
            <p14:xfrm>
              <a:off x="7971536" y="4019439"/>
              <a:ext cx="257683" cy="229950"/>
            </p14:xfrm>
          </p:contentPart>
        </mc:Choice>
        <mc:Fallback xmlns="">
          <p:pic>
            <p:nvPicPr>
              <p:cNvPr id="14" name="Ink 13">
                <a:extLst>
                  <a:ext uri="{FF2B5EF4-FFF2-40B4-BE49-F238E27FC236}">
                    <a16:creationId xmlns:a16="http://schemas.microsoft.com/office/drawing/2014/main" id="{96108BD0-AE04-843F-42AD-28980107B995}"/>
                  </a:ext>
                </a:extLst>
              </p:cNvPr>
              <p:cNvPicPr/>
              <p:nvPr/>
            </p:nvPicPr>
            <p:blipFill>
              <a:blip r:embed="rId12"/>
              <a:stretch>
                <a:fillRect/>
              </a:stretch>
            </p:blipFill>
            <p:spPr>
              <a:xfrm>
                <a:off x="7953566" y="4001474"/>
                <a:ext cx="293263" cy="26552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251524099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B4A332A-0438-519F-4F62-2071DDB4FD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6401" y="6515213"/>
            <a:ext cx="8813273" cy="216000"/>
          </a:xfrm>
        </p:spPr>
        <p:txBody>
          <a:bodyPr anchor="t">
            <a:normAutofit/>
          </a:bodyPr>
          <a:lstStyle/>
          <a:p>
            <a:pPr>
              <a:spcAft>
                <a:spcPts val="600"/>
              </a:spcAft>
            </a:pPr>
            <a:r>
              <a:rPr lang="de-DE"/>
              <a:t>Oliver Daub Dennis Stehle und Robin Starkl | Pylint Workshop | WIN | WiSe 22/3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272DBFBF-0C3A-F61B-A357-C50BD6C527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883778" y="6515213"/>
            <a:ext cx="1899711" cy="216000"/>
          </a:xfrm>
        </p:spPr>
        <p:txBody>
          <a:bodyPr anchor="t">
            <a:normAutofit/>
          </a:bodyPr>
          <a:lstStyle/>
          <a:p>
            <a:pPr>
              <a:spcAft>
                <a:spcPts val="600"/>
              </a:spcAft>
            </a:pPr>
            <a:r>
              <a:rPr lang="de-DE"/>
              <a:t>|  </a:t>
            </a:r>
            <a:fld id="{E6B5151A-17C4-4431-8407-112C0160A8B6}" type="slidenum">
              <a:rPr lang="de-DE" smtClean="0"/>
              <a:pPr>
                <a:spcAft>
                  <a:spcPts val="600"/>
                </a:spcAft>
              </a:pPr>
              <a:t>11</a:t>
            </a:fld>
            <a:endParaRPr lang="de-DE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56FD4F9C-7EA2-B949-8EE8-8112F3A860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6405" y="898525"/>
            <a:ext cx="11377084" cy="863600"/>
          </a:xfrm>
        </p:spPr>
        <p:txBody>
          <a:bodyPr anchor="t">
            <a:normAutofit/>
          </a:bodyPr>
          <a:lstStyle/>
          <a:p>
            <a:r>
              <a:rPr lang="de-DE"/>
              <a:t>Aufgabe 2 – </a:t>
            </a:r>
            <a:r>
              <a:rPr lang="de-DE" err="1"/>
              <a:t>Pylint</a:t>
            </a:r>
            <a:r>
              <a:rPr lang="de-DE"/>
              <a:t> Report erstellen</a:t>
            </a:r>
            <a:endParaRPr lang="en-US"/>
          </a:p>
        </p:txBody>
      </p:sp>
      <p:sp>
        <p:nvSpPr>
          <p:cNvPr id="12" name="Content Placeholder 4">
            <a:extLst>
              <a:ext uri="{FF2B5EF4-FFF2-40B4-BE49-F238E27FC236}">
                <a16:creationId xmlns:a16="http://schemas.microsoft.com/office/drawing/2014/main" id="{7180B4F0-FEAF-C77A-2B5D-2094473840C6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06405" y="2033591"/>
            <a:ext cx="11377084" cy="4210049"/>
          </a:xfrm>
        </p:spPr>
        <p:txBody>
          <a:bodyPr/>
          <a:lstStyle/>
          <a:p>
            <a:pPr>
              <a:spcAft>
                <a:spcPts val="1998"/>
              </a:spcAft>
            </a:pPr>
            <a:r>
              <a:rPr lang="en-US" sz="2200">
                <a:ea typeface="+mn-lt"/>
                <a:cs typeface="+mn-lt"/>
              </a:rPr>
              <a:t>Wendet </a:t>
            </a:r>
            <a:r>
              <a:rPr lang="en-US" sz="2200" err="1">
                <a:ea typeface="+mn-lt"/>
                <a:cs typeface="+mn-lt"/>
              </a:rPr>
              <a:t>Pylint</a:t>
            </a:r>
            <a:r>
              <a:rPr lang="en-US" sz="2200">
                <a:ea typeface="+mn-lt"/>
                <a:cs typeface="+mn-lt"/>
              </a:rPr>
              <a:t> </a:t>
            </a:r>
            <a:r>
              <a:rPr lang="en-US" sz="2200" err="1">
                <a:ea typeface="+mn-lt"/>
                <a:cs typeface="+mn-lt"/>
              </a:rPr>
              <a:t>mit</a:t>
            </a:r>
            <a:r>
              <a:rPr lang="en-US" sz="2200">
                <a:ea typeface="+mn-lt"/>
                <a:cs typeface="+mn-lt"/>
              </a:rPr>
              <a:t> dem „–report=y“-</a:t>
            </a:r>
            <a:r>
              <a:rPr lang="en-US" sz="2200" err="1">
                <a:ea typeface="+mn-lt"/>
                <a:cs typeface="+mn-lt"/>
              </a:rPr>
              <a:t>Befehl</a:t>
            </a:r>
            <a:r>
              <a:rPr lang="en-US" sz="2200">
                <a:ea typeface="+mn-lt"/>
                <a:cs typeface="+mn-lt"/>
              </a:rPr>
              <a:t> an, um </a:t>
            </a:r>
            <a:r>
              <a:rPr lang="en-US" sz="2200" err="1">
                <a:ea typeface="+mn-lt"/>
                <a:cs typeface="+mn-lt"/>
              </a:rPr>
              <a:t>mehr</a:t>
            </a:r>
            <a:r>
              <a:rPr lang="en-US" sz="2200">
                <a:ea typeface="+mn-lt"/>
                <a:cs typeface="+mn-lt"/>
              </a:rPr>
              <a:t> </a:t>
            </a:r>
            <a:r>
              <a:rPr lang="en-US" sz="2200" err="1">
                <a:ea typeface="+mn-lt"/>
                <a:cs typeface="+mn-lt"/>
              </a:rPr>
              <a:t>Informationen</a:t>
            </a:r>
            <a:r>
              <a:rPr lang="en-US" sz="2200">
                <a:ea typeface="+mn-lt"/>
                <a:cs typeface="+mn-lt"/>
              </a:rPr>
              <a:t> </a:t>
            </a:r>
            <a:r>
              <a:rPr lang="en-US" sz="2200" err="1">
                <a:ea typeface="+mn-lt"/>
                <a:cs typeface="+mn-lt"/>
              </a:rPr>
              <a:t>über</a:t>
            </a:r>
            <a:r>
              <a:rPr lang="en-US" sz="2200">
                <a:ea typeface="+mn-lt"/>
                <a:cs typeface="+mn-lt"/>
              </a:rPr>
              <a:t> </a:t>
            </a:r>
            <a:r>
              <a:rPr lang="en-US" sz="2200" err="1">
                <a:ea typeface="+mn-lt"/>
                <a:cs typeface="+mn-lt"/>
              </a:rPr>
              <a:t>eure</a:t>
            </a:r>
            <a:r>
              <a:rPr lang="en-US" sz="2200">
                <a:ea typeface="+mn-lt"/>
                <a:cs typeface="+mn-lt"/>
              </a:rPr>
              <a:t> Analyse </a:t>
            </a:r>
            <a:r>
              <a:rPr lang="en-US" sz="2200" err="1">
                <a:ea typeface="+mn-lt"/>
                <a:cs typeface="+mn-lt"/>
              </a:rPr>
              <a:t>zu</a:t>
            </a:r>
            <a:r>
              <a:rPr lang="en-US" sz="2200">
                <a:ea typeface="+mn-lt"/>
                <a:cs typeface="+mn-lt"/>
              </a:rPr>
              <a:t> </a:t>
            </a:r>
            <a:r>
              <a:rPr lang="en-US" sz="2200" err="1">
                <a:ea typeface="+mn-lt"/>
                <a:cs typeface="+mn-lt"/>
              </a:rPr>
              <a:t>erhalten</a:t>
            </a:r>
            <a:r>
              <a:rPr lang="en-US" sz="2200">
                <a:ea typeface="+mn-lt"/>
                <a:cs typeface="+mn-lt"/>
              </a:rPr>
              <a:t>. </a:t>
            </a:r>
            <a:r>
              <a:rPr lang="en-US" sz="2200" err="1">
                <a:ea typeface="+mn-lt"/>
                <a:cs typeface="+mn-lt"/>
              </a:rPr>
              <a:t>Schreibt</a:t>
            </a:r>
            <a:r>
              <a:rPr lang="en-US" sz="2200">
                <a:ea typeface="+mn-lt"/>
                <a:cs typeface="+mn-lt"/>
              </a:rPr>
              <a:t> </a:t>
            </a:r>
            <a:r>
              <a:rPr lang="en-US" sz="2200" err="1">
                <a:ea typeface="+mn-lt"/>
                <a:cs typeface="+mn-lt"/>
              </a:rPr>
              <a:t>raus</a:t>
            </a:r>
            <a:r>
              <a:rPr lang="en-US" sz="2200">
                <a:ea typeface="+mn-lt"/>
                <a:cs typeface="+mn-lt"/>
              </a:rPr>
              <a:t>:</a:t>
            </a:r>
            <a:endParaRPr lang="en-US">
              <a:ea typeface="+mn-lt"/>
              <a:cs typeface="+mn-lt"/>
            </a:endParaRPr>
          </a:p>
          <a:p>
            <a:pPr marL="342900" indent="-342900">
              <a:spcAft>
                <a:spcPts val="1998"/>
              </a:spcAft>
              <a:buChar char="•"/>
            </a:pPr>
            <a:r>
              <a:rPr lang="en-US" sz="2200" err="1">
                <a:cs typeface="Arial"/>
              </a:rPr>
              <a:t>Anzahl</a:t>
            </a:r>
            <a:r>
              <a:rPr lang="en-US" sz="2200">
                <a:cs typeface="Arial"/>
              </a:rPr>
              <a:t>, </a:t>
            </a:r>
            <a:r>
              <a:rPr lang="en-US" sz="2200" err="1">
                <a:cs typeface="Arial"/>
              </a:rPr>
              <a:t>wie</a:t>
            </a:r>
            <a:r>
              <a:rPr lang="en-US" sz="2200">
                <a:cs typeface="Arial"/>
              </a:rPr>
              <a:t> oft </a:t>
            </a:r>
            <a:r>
              <a:rPr lang="en-US" sz="2200" err="1">
                <a:cs typeface="Arial"/>
              </a:rPr>
              <a:t>jede</a:t>
            </a:r>
            <a:r>
              <a:rPr lang="en-US" sz="2200">
                <a:cs typeface="Arial"/>
              </a:rPr>
              <a:t> </a:t>
            </a:r>
            <a:r>
              <a:rPr lang="en-US" sz="2200" err="1">
                <a:cs typeface="Arial"/>
              </a:rPr>
              <a:t>Kategorie</a:t>
            </a:r>
            <a:r>
              <a:rPr lang="en-US" sz="2200">
                <a:cs typeface="Arial"/>
              </a:rPr>
              <a:t> der </a:t>
            </a:r>
            <a:r>
              <a:rPr lang="en-US" sz="2200" err="1">
                <a:cs typeface="Arial"/>
              </a:rPr>
              <a:t>Meldungen</a:t>
            </a:r>
            <a:r>
              <a:rPr lang="en-US" sz="2200">
                <a:cs typeface="Arial"/>
              </a:rPr>
              <a:t> (Conventions, Warnings, Refactors, Error) </a:t>
            </a:r>
            <a:r>
              <a:rPr lang="en-US" sz="2200" err="1">
                <a:cs typeface="Arial"/>
              </a:rPr>
              <a:t>vorkam</a:t>
            </a:r>
            <a:endParaRPr lang="en-US" sz="2200">
              <a:cs typeface="Arial"/>
            </a:endParaRPr>
          </a:p>
          <a:p>
            <a:pPr marL="342900" indent="-342900">
              <a:spcAft>
                <a:spcPts val="1998"/>
              </a:spcAft>
              <a:buChar char="•"/>
            </a:pPr>
            <a:r>
              <a:rPr lang="en-US" sz="2200">
                <a:cs typeface="Arial"/>
              </a:rPr>
              <a:t>Die Top 3 </a:t>
            </a:r>
            <a:r>
              <a:rPr lang="en-US" sz="2200" err="1">
                <a:cs typeface="Arial"/>
              </a:rPr>
              <a:t>Rückmeldungen</a:t>
            </a:r>
            <a:r>
              <a:rPr lang="en-US" sz="2200">
                <a:cs typeface="Arial"/>
              </a:rPr>
              <a:t>, die am häufigsten vorkommen (</a:t>
            </a:r>
            <a:r>
              <a:rPr lang="en-US" sz="2200" err="1">
                <a:cs typeface="Arial"/>
              </a:rPr>
              <a:t>wichtig</a:t>
            </a:r>
            <a:r>
              <a:rPr lang="en-US" sz="2200">
                <a:cs typeface="Arial"/>
              </a:rPr>
              <a:t> für </a:t>
            </a:r>
            <a:r>
              <a:rPr lang="en-US" sz="2200" err="1">
                <a:cs typeface="Arial"/>
              </a:rPr>
              <a:t>später</a:t>
            </a:r>
            <a:r>
              <a:rPr lang="en-US" sz="2200">
                <a:cs typeface="Arial"/>
              </a:rPr>
              <a:t>)</a:t>
            </a:r>
          </a:p>
          <a:p>
            <a:pPr>
              <a:spcAft>
                <a:spcPts val="1998"/>
              </a:spcAft>
            </a:pPr>
            <a:endParaRPr lang="en-US" sz="2200">
              <a:cs typeface="Arial"/>
            </a:endParaRPr>
          </a:p>
          <a:p>
            <a:pPr marL="457200" indent="-457200">
              <a:spcAft>
                <a:spcPts val="1998"/>
              </a:spcAft>
              <a:buAutoNum type="arabicPeriod"/>
            </a:pPr>
            <a:endParaRPr lang="en-US" sz="2200">
              <a:cs typeface="Arial"/>
            </a:endParaRPr>
          </a:p>
          <a:p>
            <a:pPr marL="457200" indent="-457200">
              <a:spcAft>
                <a:spcPts val="1998"/>
              </a:spcAft>
              <a:buAutoNum type="arabicPeriod"/>
            </a:pPr>
            <a:endParaRPr lang="en-US" sz="2200"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03122775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B4A332A-0438-519F-4F62-2071DDB4FD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6401" y="6515213"/>
            <a:ext cx="8813273" cy="216000"/>
          </a:xfrm>
        </p:spPr>
        <p:txBody>
          <a:bodyPr anchor="t">
            <a:normAutofit/>
          </a:bodyPr>
          <a:lstStyle/>
          <a:p>
            <a:pPr>
              <a:spcAft>
                <a:spcPts val="600"/>
              </a:spcAft>
            </a:pPr>
            <a:r>
              <a:rPr lang="de-DE"/>
              <a:t>Oliver Daub Dennis Stehle und Robin Starkl | Pylint Workshop | WIN | WiSe 22/3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272DBFBF-0C3A-F61B-A357-C50BD6C527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883778" y="6515213"/>
            <a:ext cx="1899711" cy="216000"/>
          </a:xfrm>
        </p:spPr>
        <p:txBody>
          <a:bodyPr anchor="t">
            <a:normAutofit/>
          </a:bodyPr>
          <a:lstStyle/>
          <a:p>
            <a:pPr>
              <a:spcAft>
                <a:spcPts val="600"/>
              </a:spcAft>
            </a:pPr>
            <a:r>
              <a:rPr lang="de-DE"/>
              <a:t>|  </a:t>
            </a:r>
            <a:fld id="{E6B5151A-17C4-4431-8407-112C0160A8B6}" type="slidenum">
              <a:rPr lang="de-DE" smtClean="0"/>
              <a:pPr>
                <a:spcAft>
                  <a:spcPts val="600"/>
                </a:spcAft>
              </a:pPr>
              <a:t>12</a:t>
            </a:fld>
            <a:endParaRPr lang="de-DE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56FD4F9C-7EA2-B949-8EE8-8112F3A860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6405" y="898525"/>
            <a:ext cx="11377084" cy="863600"/>
          </a:xfrm>
        </p:spPr>
        <p:txBody>
          <a:bodyPr anchor="t">
            <a:normAutofit/>
          </a:bodyPr>
          <a:lstStyle/>
          <a:p>
            <a:r>
              <a:rPr lang="de-DE"/>
              <a:t>Aufgabe 3 – Filtern &amp; Hilfe Anfragen</a:t>
            </a:r>
            <a:endParaRPr lang="de-DE">
              <a:cs typeface="Arial"/>
            </a:endParaRPr>
          </a:p>
        </p:txBody>
      </p:sp>
      <p:sp>
        <p:nvSpPr>
          <p:cNvPr id="12" name="Content Placeholder 4">
            <a:extLst>
              <a:ext uri="{FF2B5EF4-FFF2-40B4-BE49-F238E27FC236}">
                <a16:creationId xmlns:a16="http://schemas.microsoft.com/office/drawing/2014/main" id="{7180B4F0-FEAF-C77A-2B5D-2094473840C6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06405" y="2033591"/>
            <a:ext cx="11377084" cy="4210049"/>
          </a:xfrm>
        </p:spPr>
        <p:txBody>
          <a:bodyPr/>
          <a:lstStyle/>
          <a:p>
            <a:pPr marL="457200" indent="-457200">
              <a:spcAft>
                <a:spcPts val="1998"/>
              </a:spcAft>
              <a:buAutoNum type="arabicPeriod"/>
            </a:pPr>
            <a:r>
              <a:rPr lang="en-US" sz="2200" err="1">
                <a:ea typeface="+mn-lt"/>
                <a:cs typeface="+mn-lt"/>
              </a:rPr>
              <a:t>Führt</a:t>
            </a:r>
            <a:r>
              <a:rPr lang="en-US" sz="2200">
                <a:ea typeface="+mn-lt"/>
                <a:cs typeface="+mn-lt"/>
              </a:rPr>
              <a:t> </a:t>
            </a:r>
            <a:r>
              <a:rPr lang="en-US" sz="2200" err="1">
                <a:ea typeface="+mn-lt"/>
                <a:cs typeface="+mn-lt"/>
              </a:rPr>
              <a:t>Pylint</a:t>
            </a:r>
            <a:r>
              <a:rPr lang="en-US" sz="2200">
                <a:ea typeface="+mn-lt"/>
                <a:cs typeface="+mn-lt"/>
              </a:rPr>
              <a:t> </a:t>
            </a:r>
            <a:r>
              <a:rPr lang="en-US" sz="2200" err="1">
                <a:ea typeface="+mn-lt"/>
                <a:cs typeface="+mn-lt"/>
              </a:rPr>
              <a:t>wieder</a:t>
            </a:r>
            <a:r>
              <a:rPr lang="en-US" sz="2200">
                <a:ea typeface="+mn-lt"/>
                <a:cs typeface="+mn-lt"/>
              </a:rPr>
              <a:t> auf </a:t>
            </a:r>
            <a:r>
              <a:rPr lang="en-US" sz="2200" err="1">
                <a:ea typeface="+mn-lt"/>
                <a:cs typeface="+mn-lt"/>
              </a:rPr>
              <a:t>euren</a:t>
            </a:r>
            <a:r>
              <a:rPr lang="en-US" sz="2200">
                <a:ea typeface="+mn-lt"/>
                <a:cs typeface="+mn-lt"/>
              </a:rPr>
              <a:t> code </a:t>
            </a:r>
            <a:r>
              <a:rPr lang="en-US" sz="2200" err="1">
                <a:ea typeface="+mn-lt"/>
                <a:cs typeface="+mn-lt"/>
              </a:rPr>
              <a:t>aus</a:t>
            </a:r>
            <a:r>
              <a:rPr lang="en-US" sz="2200">
                <a:ea typeface="+mn-lt"/>
                <a:cs typeface="+mn-lt"/>
              </a:rPr>
              <a:t>, </a:t>
            </a:r>
            <a:r>
              <a:rPr lang="en-US" sz="2200" err="1">
                <a:ea typeface="+mn-lt"/>
                <a:cs typeface="+mn-lt"/>
              </a:rPr>
              <a:t>diesmal</a:t>
            </a:r>
            <a:r>
              <a:rPr lang="en-US" sz="2200">
                <a:ea typeface="+mn-lt"/>
                <a:cs typeface="+mn-lt"/>
              </a:rPr>
              <a:t> </a:t>
            </a:r>
            <a:r>
              <a:rPr lang="en-US" sz="2200" err="1">
                <a:ea typeface="+mn-lt"/>
                <a:cs typeface="+mn-lt"/>
              </a:rPr>
              <a:t>filtert</a:t>
            </a:r>
            <a:r>
              <a:rPr lang="en-US" sz="2200">
                <a:ea typeface="+mn-lt"/>
                <a:cs typeface="+mn-lt"/>
              </a:rPr>
              <a:t> </a:t>
            </a:r>
            <a:r>
              <a:rPr lang="en-US" sz="2200" err="1">
                <a:ea typeface="+mn-lt"/>
                <a:cs typeface="+mn-lt"/>
              </a:rPr>
              <a:t>mithilfe</a:t>
            </a:r>
            <a:r>
              <a:rPr lang="en-US" sz="2200">
                <a:ea typeface="+mn-lt"/>
                <a:cs typeface="+mn-lt"/>
              </a:rPr>
              <a:t> des "--disable=&lt;massage id/category/message&gt;" </a:t>
            </a:r>
            <a:r>
              <a:rPr lang="en-US" sz="2200" err="1">
                <a:ea typeface="+mn-lt"/>
                <a:cs typeface="+mn-lt"/>
              </a:rPr>
              <a:t>Befehls</a:t>
            </a:r>
            <a:r>
              <a:rPr lang="en-US" sz="2200">
                <a:ea typeface="+mn-lt"/>
                <a:cs typeface="+mn-lt"/>
              </a:rPr>
              <a:t>.</a:t>
            </a:r>
            <a:br>
              <a:rPr lang="en-US" sz="2200">
                <a:ea typeface="+mn-lt"/>
                <a:cs typeface="+mn-lt"/>
              </a:rPr>
            </a:br>
            <a:r>
              <a:rPr lang="en-US" sz="2200">
                <a:cs typeface="Arial"/>
              </a:rPr>
              <a:t>--&gt; </a:t>
            </a:r>
            <a:r>
              <a:rPr lang="en-US" sz="2200" err="1">
                <a:cs typeface="Arial"/>
              </a:rPr>
              <a:t>Filtert</a:t>
            </a:r>
            <a:r>
              <a:rPr lang="en-US" sz="2200">
                <a:cs typeface="Arial"/>
              </a:rPr>
              <a:t> alle </a:t>
            </a:r>
            <a:r>
              <a:rPr lang="en-US" sz="2200" err="1">
                <a:cs typeface="Arial"/>
              </a:rPr>
              <a:t>Rückmeldungen</a:t>
            </a:r>
            <a:r>
              <a:rPr lang="en-US" sz="2200">
                <a:cs typeface="Arial"/>
              </a:rPr>
              <a:t> </a:t>
            </a:r>
            <a:r>
              <a:rPr lang="en-US" sz="2200" err="1">
                <a:cs typeface="Arial"/>
              </a:rPr>
              <a:t>vom</a:t>
            </a:r>
            <a:r>
              <a:rPr lang="en-US" sz="2200">
                <a:cs typeface="Arial"/>
              </a:rPr>
              <a:t> Type "Convention" </a:t>
            </a:r>
            <a:r>
              <a:rPr lang="en-US" sz="2200" err="1">
                <a:cs typeface="Arial"/>
              </a:rPr>
              <a:t>raus</a:t>
            </a:r>
            <a:br>
              <a:rPr lang="en-US" sz="2200">
                <a:cs typeface="Arial"/>
              </a:rPr>
            </a:br>
            <a:r>
              <a:rPr lang="en-US" sz="2200">
                <a:cs typeface="Arial"/>
              </a:rPr>
              <a:t>--&gt; </a:t>
            </a:r>
            <a:r>
              <a:rPr lang="en-US" sz="2200" err="1">
                <a:cs typeface="Arial"/>
              </a:rPr>
              <a:t>Filtert</a:t>
            </a:r>
            <a:r>
              <a:rPr lang="en-US" sz="2200">
                <a:cs typeface="Arial"/>
              </a:rPr>
              <a:t> die </a:t>
            </a:r>
            <a:r>
              <a:rPr lang="en-US" sz="2200" err="1">
                <a:cs typeface="Arial"/>
              </a:rPr>
              <a:t>meist</a:t>
            </a:r>
            <a:r>
              <a:rPr lang="en-US" sz="2200">
                <a:cs typeface="Arial"/>
              </a:rPr>
              <a:t> </a:t>
            </a:r>
            <a:r>
              <a:rPr lang="en-US" sz="2200" err="1">
                <a:cs typeface="Arial"/>
              </a:rPr>
              <a:t>vorkommende</a:t>
            </a:r>
            <a:r>
              <a:rPr lang="en-US" sz="2200">
                <a:cs typeface="Arial"/>
              </a:rPr>
              <a:t> </a:t>
            </a:r>
            <a:r>
              <a:rPr lang="en-US" sz="2200" err="1">
                <a:cs typeface="Arial"/>
              </a:rPr>
              <a:t>Meldung</a:t>
            </a:r>
            <a:r>
              <a:rPr lang="en-US" sz="2200">
                <a:cs typeface="Arial"/>
              </a:rPr>
              <a:t> in </a:t>
            </a:r>
            <a:r>
              <a:rPr lang="en-US" sz="2200" err="1">
                <a:cs typeface="Arial"/>
              </a:rPr>
              <a:t>eurem</a:t>
            </a:r>
            <a:r>
              <a:rPr lang="en-US" sz="2200">
                <a:cs typeface="Arial"/>
              </a:rPr>
              <a:t> Code </a:t>
            </a:r>
            <a:r>
              <a:rPr lang="en-US" sz="2200" err="1">
                <a:cs typeface="Arial"/>
              </a:rPr>
              <a:t>raus</a:t>
            </a:r>
            <a:r>
              <a:rPr lang="en-US" sz="2200">
                <a:cs typeface="Arial"/>
              </a:rPr>
              <a:t> (Top 3 </a:t>
            </a:r>
            <a:r>
              <a:rPr lang="en-US" sz="2200" err="1">
                <a:cs typeface="Arial"/>
              </a:rPr>
              <a:t>Meldungen</a:t>
            </a:r>
            <a:r>
              <a:rPr lang="en-US" sz="2200">
                <a:cs typeface="Arial"/>
              </a:rPr>
              <a:t>)</a:t>
            </a:r>
          </a:p>
          <a:p>
            <a:pPr marL="457200" indent="-457200">
              <a:spcAft>
                <a:spcPts val="1998"/>
              </a:spcAft>
              <a:buAutoNum type="arabicPeriod"/>
            </a:pPr>
            <a:r>
              <a:rPr lang="en-US" sz="2200">
                <a:cs typeface="Arial"/>
              </a:rPr>
              <a:t>Durch "</a:t>
            </a:r>
            <a:r>
              <a:rPr lang="en-US" sz="2200" err="1">
                <a:cs typeface="Arial"/>
              </a:rPr>
              <a:t>pylint</a:t>
            </a:r>
            <a:r>
              <a:rPr lang="en-US" sz="2200">
                <a:cs typeface="Arial"/>
              </a:rPr>
              <a:t> –help" </a:t>
            </a:r>
            <a:r>
              <a:rPr lang="en-US" sz="2200" err="1">
                <a:cs typeface="Arial"/>
              </a:rPr>
              <a:t>kann</a:t>
            </a:r>
            <a:r>
              <a:rPr lang="en-US" sz="2200">
                <a:cs typeface="Arial"/>
              </a:rPr>
              <a:t> </a:t>
            </a:r>
            <a:r>
              <a:rPr lang="en-US" sz="2200" err="1">
                <a:cs typeface="Arial"/>
              </a:rPr>
              <a:t>Hilfestellung</a:t>
            </a:r>
            <a:r>
              <a:rPr lang="en-US" sz="2200">
                <a:cs typeface="Arial"/>
              </a:rPr>
              <a:t> </a:t>
            </a:r>
            <a:r>
              <a:rPr lang="en-US" sz="2200" err="1">
                <a:cs typeface="Arial"/>
              </a:rPr>
              <a:t>zu</a:t>
            </a:r>
            <a:r>
              <a:rPr lang="en-US" sz="2200">
                <a:cs typeface="Arial"/>
              </a:rPr>
              <a:t> </a:t>
            </a:r>
            <a:r>
              <a:rPr lang="en-US" sz="2200" err="1">
                <a:cs typeface="Arial"/>
              </a:rPr>
              <a:t>PyLint</a:t>
            </a:r>
            <a:r>
              <a:rPr lang="en-US" sz="2200">
                <a:cs typeface="Arial"/>
              </a:rPr>
              <a:t> </a:t>
            </a:r>
            <a:r>
              <a:rPr lang="en-US" sz="2200" err="1">
                <a:cs typeface="Arial"/>
              </a:rPr>
              <a:t>ausgeführt</a:t>
            </a:r>
            <a:r>
              <a:rPr lang="en-US" sz="2200">
                <a:cs typeface="Arial"/>
              </a:rPr>
              <a:t> </a:t>
            </a:r>
            <a:r>
              <a:rPr lang="en-US" sz="2200" err="1">
                <a:cs typeface="Arial"/>
              </a:rPr>
              <a:t>werden</a:t>
            </a:r>
            <a:r>
              <a:rPr lang="en-US" sz="2200">
                <a:cs typeface="Arial"/>
              </a:rPr>
              <a:t>. Das </a:t>
            </a:r>
            <a:r>
              <a:rPr lang="en-US" sz="2200" err="1">
                <a:cs typeface="Arial"/>
              </a:rPr>
              <a:t>geht</a:t>
            </a:r>
            <a:r>
              <a:rPr lang="en-US" sz="2200">
                <a:cs typeface="Arial"/>
              </a:rPr>
              <a:t> </a:t>
            </a:r>
            <a:r>
              <a:rPr lang="en-US" sz="2200" err="1">
                <a:cs typeface="Arial"/>
              </a:rPr>
              <a:t>auch</a:t>
            </a:r>
            <a:r>
              <a:rPr lang="en-US" sz="2200">
                <a:cs typeface="Arial"/>
              </a:rPr>
              <a:t> </a:t>
            </a:r>
            <a:r>
              <a:rPr lang="en-US" sz="2200" err="1">
                <a:cs typeface="Arial"/>
              </a:rPr>
              <a:t>bei</a:t>
            </a:r>
            <a:r>
              <a:rPr lang="en-US" sz="2200">
                <a:cs typeface="Arial"/>
              </a:rPr>
              <a:t> </a:t>
            </a:r>
            <a:r>
              <a:rPr lang="en-US" sz="2200" err="1">
                <a:cs typeface="Arial"/>
              </a:rPr>
              <a:t>einzelnen</a:t>
            </a:r>
            <a:r>
              <a:rPr lang="en-US" sz="2200">
                <a:cs typeface="Arial"/>
              </a:rPr>
              <a:t> </a:t>
            </a:r>
            <a:r>
              <a:rPr lang="en-US" sz="2200" err="1">
                <a:cs typeface="Arial"/>
              </a:rPr>
              <a:t>Rückmeldungen</a:t>
            </a:r>
            <a:r>
              <a:rPr lang="en-US" sz="2200">
                <a:cs typeface="Arial"/>
              </a:rPr>
              <a:t> </a:t>
            </a:r>
            <a:r>
              <a:rPr lang="en-US" sz="2200" err="1">
                <a:cs typeface="Arial"/>
              </a:rPr>
              <a:t>mithilfe</a:t>
            </a:r>
            <a:r>
              <a:rPr lang="en-US" sz="2200">
                <a:cs typeface="Arial"/>
              </a:rPr>
              <a:t> des </a:t>
            </a:r>
            <a:r>
              <a:rPr lang="en-US" sz="2200" err="1">
                <a:cs typeface="Arial"/>
              </a:rPr>
              <a:t>Befehls</a:t>
            </a:r>
            <a:r>
              <a:rPr lang="en-US" sz="2200">
                <a:cs typeface="Arial"/>
              </a:rPr>
              <a:t> "</a:t>
            </a:r>
            <a:r>
              <a:rPr lang="en-US" sz="2200" err="1">
                <a:cs typeface="Arial"/>
              </a:rPr>
              <a:t>pylint</a:t>
            </a:r>
            <a:r>
              <a:rPr lang="en-US" sz="2200">
                <a:cs typeface="Arial"/>
              </a:rPr>
              <a:t> –help=&lt;message-id/message&gt;"</a:t>
            </a:r>
            <a:br>
              <a:rPr lang="en-US" sz="2200">
                <a:cs typeface="Arial"/>
              </a:rPr>
            </a:br>
            <a:r>
              <a:rPr lang="en-US" sz="2200" err="1">
                <a:cs typeface="Arial"/>
              </a:rPr>
              <a:t>Nutze</a:t>
            </a:r>
            <a:r>
              <a:rPr lang="en-US" sz="2200">
                <a:cs typeface="Arial"/>
              </a:rPr>
              <a:t> den </a:t>
            </a:r>
            <a:r>
              <a:rPr lang="en-US" sz="2200" err="1">
                <a:cs typeface="Arial"/>
              </a:rPr>
              <a:t>Befehl</a:t>
            </a:r>
            <a:r>
              <a:rPr lang="en-US" sz="2200">
                <a:cs typeface="Arial"/>
              </a:rPr>
              <a:t>, um </a:t>
            </a:r>
            <a:r>
              <a:rPr lang="en-US" sz="2200" err="1">
                <a:cs typeface="Arial"/>
              </a:rPr>
              <a:t>mehr</a:t>
            </a:r>
            <a:r>
              <a:rPr lang="en-US" sz="2200">
                <a:cs typeface="Arial"/>
              </a:rPr>
              <a:t> </a:t>
            </a:r>
            <a:r>
              <a:rPr lang="en-US" sz="2200" err="1">
                <a:cs typeface="Arial"/>
              </a:rPr>
              <a:t>Informationen</a:t>
            </a:r>
            <a:r>
              <a:rPr lang="en-US" sz="2200">
                <a:cs typeface="Arial"/>
              </a:rPr>
              <a:t> </a:t>
            </a:r>
            <a:r>
              <a:rPr lang="en-US" sz="2200" err="1">
                <a:cs typeface="Arial"/>
              </a:rPr>
              <a:t>zu</a:t>
            </a:r>
            <a:r>
              <a:rPr lang="en-US" sz="2200">
                <a:cs typeface="Arial"/>
              </a:rPr>
              <a:t> </a:t>
            </a:r>
            <a:r>
              <a:rPr lang="en-US" sz="2200" err="1">
                <a:cs typeface="Arial"/>
              </a:rPr>
              <a:t>deinen</a:t>
            </a:r>
            <a:r>
              <a:rPr lang="en-US" sz="2200">
                <a:cs typeface="Arial"/>
              </a:rPr>
              <a:t> Top 3 </a:t>
            </a:r>
            <a:r>
              <a:rPr lang="en-US" sz="2200" err="1">
                <a:cs typeface="Arial"/>
              </a:rPr>
              <a:t>Nachrichten</a:t>
            </a:r>
            <a:r>
              <a:rPr lang="en-US" sz="2200">
                <a:cs typeface="Arial"/>
              </a:rPr>
              <a:t> </a:t>
            </a:r>
            <a:r>
              <a:rPr lang="en-US" sz="2200" err="1">
                <a:cs typeface="Arial"/>
              </a:rPr>
              <a:t>zu</a:t>
            </a:r>
            <a:r>
              <a:rPr lang="en-US" sz="2200">
                <a:cs typeface="Arial"/>
              </a:rPr>
              <a:t> </a:t>
            </a:r>
            <a:r>
              <a:rPr lang="en-US" sz="2200" err="1">
                <a:cs typeface="Arial"/>
              </a:rPr>
              <a:t>erhalten</a:t>
            </a:r>
            <a:r>
              <a:rPr lang="en-US" sz="2200">
                <a:cs typeface="Arial"/>
              </a:rPr>
              <a:t>.</a:t>
            </a:r>
          </a:p>
          <a:p>
            <a:pPr>
              <a:spcAft>
                <a:spcPts val="1998"/>
              </a:spcAft>
            </a:pPr>
            <a:endParaRPr lang="en-US" sz="2200">
              <a:cs typeface="Arial"/>
            </a:endParaRPr>
          </a:p>
          <a:p>
            <a:pPr marL="457200" indent="-457200">
              <a:spcAft>
                <a:spcPts val="1998"/>
              </a:spcAft>
              <a:buAutoNum type="arabicPeriod"/>
            </a:pPr>
            <a:endParaRPr lang="en-US" sz="2200">
              <a:cs typeface="Arial"/>
            </a:endParaRPr>
          </a:p>
          <a:p>
            <a:pPr marL="457200" indent="-457200">
              <a:spcAft>
                <a:spcPts val="1998"/>
              </a:spcAft>
              <a:buAutoNum type="arabicPeriod"/>
            </a:pPr>
            <a:endParaRPr lang="en-US" sz="2200"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50556992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3249AB7-E24A-967E-4BC1-255DA09FFEE3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/>
              <a:t>Pause </a:t>
            </a:r>
            <a:br>
              <a:rPr lang="de-DE"/>
            </a:br>
            <a:r>
              <a:rPr lang="de-DE"/>
              <a:t>15 </a:t>
            </a:r>
            <a:r>
              <a:rPr lang="de-DE" err="1"/>
              <a:t>minuten</a:t>
            </a:r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39C972B9-AA3C-FCC8-C28B-C171A4B362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Oliver Daub Dennis Stehle und Robin Starkl | Pylint Workshop | WIN | WiSe 22/3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945049A1-40DC-F83B-A7E1-9FB1C114F2A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/>
              <a:t>|  </a:t>
            </a:r>
            <a:fld id="{E6B5151A-17C4-4431-8407-112C0160A8B6}" type="slidenum">
              <a:rPr lang="de-DE" smtClean="0"/>
              <a:pPr/>
              <a:t>13</a:t>
            </a:fld>
            <a:endParaRPr lang="de-DE"/>
          </a:p>
        </p:txBody>
      </p:sp>
      <p:sp>
        <p:nvSpPr>
          <p:cNvPr id="5" name="Vertikaler Textplatzhalter 4">
            <a:extLst>
              <a:ext uri="{FF2B5EF4-FFF2-40B4-BE49-F238E27FC236}">
                <a16:creationId xmlns:a16="http://schemas.microsoft.com/office/drawing/2014/main" id="{BB68A74B-2F52-5B43-129F-13F6592D7875}"/>
              </a:ext>
            </a:extLst>
          </p:cNvPr>
          <p:cNvSpPr>
            <a:spLocks noGrp="1"/>
          </p:cNvSpPr>
          <p:nvPr>
            <p:ph type="body" orient="vert" idx="13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5283734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F0B0850-8E81-F46D-AD80-078E6A003FFD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/>
              <a:t>Praxis Teil 2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F8B8D4C8-B51A-9E38-3E50-99429B3CDD3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Oliver Daub Dennis Stehle und Robin Starkl | Pylint Workshop | WIN | WiSe 22/3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C7B0113-4E49-C0B7-BCE2-92D9CDB85A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/>
              <a:t>|  </a:t>
            </a:r>
            <a:fld id="{E6B5151A-17C4-4431-8407-112C0160A8B6}" type="slidenum">
              <a:rPr lang="de-DE" smtClean="0"/>
              <a:pPr/>
              <a:t>14</a:t>
            </a:fld>
            <a:endParaRPr lang="de-DE"/>
          </a:p>
        </p:txBody>
      </p:sp>
      <p:sp>
        <p:nvSpPr>
          <p:cNvPr id="5" name="Vertikaler Textplatzhalter 4">
            <a:extLst>
              <a:ext uri="{FF2B5EF4-FFF2-40B4-BE49-F238E27FC236}">
                <a16:creationId xmlns:a16="http://schemas.microsoft.com/office/drawing/2014/main" id="{211179FA-317C-9056-B54A-E789E64D0F95}"/>
              </a:ext>
            </a:extLst>
          </p:cNvPr>
          <p:cNvSpPr>
            <a:spLocks noGrp="1"/>
          </p:cNvSpPr>
          <p:nvPr>
            <p:ph type="body" orient="vert" idx="13"/>
          </p:nvPr>
        </p:nvSpPr>
        <p:spPr/>
        <p:txBody>
          <a:bodyPr/>
          <a:lstStyle/>
          <a:p>
            <a:r>
              <a:rPr lang="de-DE" sz="1950" err="1">
                <a:cs typeface="Arial"/>
              </a:rPr>
              <a:t>Pylint</a:t>
            </a:r>
            <a:r>
              <a:rPr lang="de-DE" sz="1950">
                <a:cs typeface="Arial"/>
              </a:rPr>
              <a:t> Übungen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7108006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B4A332A-0438-519F-4F62-2071DDB4FD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6401" y="6515213"/>
            <a:ext cx="8813273" cy="216000"/>
          </a:xfrm>
        </p:spPr>
        <p:txBody>
          <a:bodyPr anchor="t">
            <a:normAutofit/>
          </a:bodyPr>
          <a:lstStyle/>
          <a:p>
            <a:pPr>
              <a:spcAft>
                <a:spcPts val="600"/>
              </a:spcAft>
            </a:pPr>
            <a:r>
              <a:rPr lang="de-DE"/>
              <a:t>Oliver Daub Dennis Stehle und Robin Starkl | Pylint Workshop | WIN | WiSe 22/3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272DBFBF-0C3A-F61B-A357-C50BD6C527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883778" y="6515213"/>
            <a:ext cx="1899711" cy="216000"/>
          </a:xfrm>
        </p:spPr>
        <p:txBody>
          <a:bodyPr anchor="t">
            <a:normAutofit/>
          </a:bodyPr>
          <a:lstStyle/>
          <a:p>
            <a:pPr>
              <a:spcAft>
                <a:spcPts val="600"/>
              </a:spcAft>
            </a:pPr>
            <a:r>
              <a:rPr lang="de-DE"/>
              <a:t>|  </a:t>
            </a:r>
            <a:fld id="{E6B5151A-17C4-4431-8407-112C0160A8B6}" type="slidenum">
              <a:rPr lang="de-DE" dirty="0" smtClean="0"/>
              <a:pPr>
                <a:spcAft>
                  <a:spcPts val="600"/>
                </a:spcAft>
              </a:pPr>
              <a:t>15</a:t>
            </a:fld>
            <a:endParaRPr lang="de-DE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56FD4F9C-7EA2-B949-8EE8-8112F3A860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6405" y="898525"/>
            <a:ext cx="11377084" cy="863600"/>
          </a:xfrm>
        </p:spPr>
        <p:txBody>
          <a:bodyPr anchor="t">
            <a:normAutofit/>
          </a:bodyPr>
          <a:lstStyle/>
          <a:p>
            <a:r>
              <a:rPr lang="de-DE"/>
              <a:t>Aufgabe 4 – Übungsaufgabe Conventions</a:t>
            </a:r>
            <a:endParaRPr lang="de-DE">
              <a:cs typeface="Arial"/>
            </a:endParaRPr>
          </a:p>
        </p:txBody>
      </p:sp>
      <p:sp>
        <p:nvSpPr>
          <p:cNvPr id="12" name="Content Placeholder 4">
            <a:extLst>
              <a:ext uri="{FF2B5EF4-FFF2-40B4-BE49-F238E27FC236}">
                <a16:creationId xmlns:a16="http://schemas.microsoft.com/office/drawing/2014/main" id="{7180B4F0-FEAF-C77A-2B5D-2094473840C6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06405" y="2033591"/>
            <a:ext cx="11377084" cy="4210049"/>
          </a:xfrm>
        </p:spPr>
        <p:txBody>
          <a:bodyPr/>
          <a:lstStyle/>
          <a:p>
            <a:pPr marL="457200" indent="-457200">
              <a:spcAft>
                <a:spcPts val="1998"/>
              </a:spcAft>
              <a:buAutoNum type="arabicPeriod"/>
            </a:pPr>
            <a:r>
              <a:rPr lang="en-US" sz="2200" err="1">
                <a:ea typeface="+mn-lt"/>
                <a:cs typeface="+mn-lt"/>
              </a:rPr>
              <a:t>Führt</a:t>
            </a:r>
            <a:r>
              <a:rPr lang="en-US" sz="2200">
                <a:ea typeface="+mn-lt"/>
                <a:cs typeface="+mn-lt"/>
              </a:rPr>
              <a:t> </a:t>
            </a:r>
            <a:r>
              <a:rPr lang="en-US" sz="2200" err="1">
                <a:ea typeface="+mn-lt"/>
                <a:cs typeface="+mn-lt"/>
              </a:rPr>
              <a:t>Pylint</a:t>
            </a:r>
            <a:r>
              <a:rPr lang="en-US" sz="2200">
                <a:ea typeface="+mn-lt"/>
                <a:cs typeface="+mn-lt"/>
              </a:rPr>
              <a:t> auf „Convention.py“ </a:t>
            </a:r>
            <a:r>
              <a:rPr lang="en-US" sz="2200" err="1">
                <a:ea typeface="+mn-lt"/>
                <a:cs typeface="+mn-lt"/>
              </a:rPr>
              <a:t>aus</a:t>
            </a:r>
            <a:r>
              <a:rPr lang="en-US" sz="2200">
                <a:ea typeface="+mn-lt"/>
                <a:cs typeface="+mn-lt"/>
              </a:rPr>
              <a:t> und </a:t>
            </a:r>
            <a:r>
              <a:rPr lang="en-US" sz="2200" err="1">
                <a:ea typeface="+mn-lt"/>
                <a:cs typeface="+mn-lt"/>
              </a:rPr>
              <a:t>behebt</a:t>
            </a:r>
            <a:r>
              <a:rPr lang="en-US" sz="2200">
                <a:ea typeface="+mn-lt"/>
                <a:cs typeface="+mn-lt"/>
              </a:rPr>
              <a:t> alle </a:t>
            </a:r>
            <a:r>
              <a:rPr lang="en-US" sz="2200" err="1">
                <a:ea typeface="+mn-lt"/>
                <a:cs typeface="+mn-lt"/>
              </a:rPr>
              <a:t>Rückmeldungen</a:t>
            </a:r>
            <a:r>
              <a:rPr lang="en-US" sz="2200">
                <a:ea typeface="+mn-lt"/>
                <a:cs typeface="+mn-lt"/>
              </a:rPr>
              <a:t>. Zur </a:t>
            </a:r>
            <a:r>
              <a:rPr lang="en-US" sz="2200" err="1">
                <a:ea typeface="+mn-lt"/>
                <a:cs typeface="+mn-lt"/>
              </a:rPr>
              <a:t>Hilfe</a:t>
            </a:r>
            <a:r>
              <a:rPr lang="en-US" sz="2200">
                <a:ea typeface="+mn-lt"/>
                <a:cs typeface="+mn-lt"/>
              </a:rPr>
              <a:t> </a:t>
            </a:r>
            <a:r>
              <a:rPr lang="en-US" sz="2200" err="1">
                <a:ea typeface="+mn-lt"/>
                <a:cs typeface="+mn-lt"/>
              </a:rPr>
              <a:t>habt</a:t>
            </a:r>
            <a:r>
              <a:rPr lang="en-US" sz="2200">
                <a:ea typeface="+mn-lt"/>
                <a:cs typeface="+mn-lt"/>
              </a:rPr>
              <a:t> </a:t>
            </a:r>
            <a:r>
              <a:rPr lang="en-US" sz="2200" err="1">
                <a:ea typeface="+mn-lt"/>
                <a:cs typeface="+mn-lt"/>
              </a:rPr>
              <a:t>ihr</a:t>
            </a:r>
            <a:r>
              <a:rPr lang="en-US" sz="2200">
                <a:ea typeface="+mn-lt"/>
                <a:cs typeface="+mn-lt"/>
              </a:rPr>
              <a:t> das Cheat Sheet und den –help=&lt;massage-id/message&gt; - Befehl.</a:t>
            </a:r>
            <a:endParaRPr lang="en-US"/>
          </a:p>
          <a:p>
            <a:pPr marL="287655" lvl="7">
              <a:spcAft>
                <a:spcPts val="1998"/>
              </a:spcAft>
            </a:pPr>
            <a:endParaRPr lang="en-US" sz="1950">
              <a:cs typeface="Arial"/>
            </a:endParaRPr>
          </a:p>
          <a:p>
            <a:pPr marL="457200" indent="-457200">
              <a:spcAft>
                <a:spcPts val="1998"/>
              </a:spcAft>
              <a:buAutoNum type="arabicPeriod"/>
            </a:pPr>
            <a:endParaRPr lang="en-US" sz="2200">
              <a:cs typeface="Arial"/>
            </a:endParaRPr>
          </a:p>
          <a:p>
            <a:pPr marL="457200" indent="-457200">
              <a:spcAft>
                <a:spcPts val="1998"/>
              </a:spcAft>
              <a:buAutoNum type="arabicPeriod"/>
            </a:pPr>
            <a:endParaRPr lang="en-US" sz="2200">
              <a:cs typeface="Arial"/>
            </a:endParaRPr>
          </a:p>
          <a:p>
            <a:pPr>
              <a:spcAft>
                <a:spcPts val="1998"/>
              </a:spcAft>
            </a:pPr>
            <a:endParaRPr lang="en-US" sz="2200">
              <a:cs typeface="Arial"/>
            </a:endParaRPr>
          </a:p>
          <a:p>
            <a:pPr marL="457200" indent="-457200">
              <a:spcAft>
                <a:spcPts val="1998"/>
              </a:spcAft>
              <a:buAutoNum type="arabicPeriod"/>
            </a:pPr>
            <a:endParaRPr lang="en-US" sz="2200">
              <a:cs typeface="Arial"/>
            </a:endParaRPr>
          </a:p>
          <a:p>
            <a:pPr marL="457200" indent="-457200">
              <a:spcAft>
                <a:spcPts val="1998"/>
              </a:spcAft>
              <a:buAutoNum type="arabicPeriod"/>
            </a:pPr>
            <a:endParaRPr lang="en-US" sz="2200"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69313522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B4A332A-0438-519F-4F62-2071DDB4FD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6401" y="6515213"/>
            <a:ext cx="8813273" cy="216000"/>
          </a:xfrm>
        </p:spPr>
        <p:txBody>
          <a:bodyPr anchor="t">
            <a:normAutofit/>
          </a:bodyPr>
          <a:lstStyle/>
          <a:p>
            <a:pPr>
              <a:spcAft>
                <a:spcPts val="600"/>
              </a:spcAft>
            </a:pPr>
            <a:r>
              <a:rPr lang="de-DE"/>
              <a:t>Oliver Daub Dennis Stehle und Robin Starkl | Pylint Workshop | WIN | WiSe 22/3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272DBFBF-0C3A-F61B-A357-C50BD6C527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883778" y="6515213"/>
            <a:ext cx="1899711" cy="216000"/>
          </a:xfrm>
        </p:spPr>
        <p:txBody>
          <a:bodyPr anchor="t">
            <a:normAutofit/>
          </a:bodyPr>
          <a:lstStyle/>
          <a:p>
            <a:pPr>
              <a:spcAft>
                <a:spcPts val="600"/>
              </a:spcAft>
            </a:pPr>
            <a:r>
              <a:rPr lang="de-DE"/>
              <a:t>|  </a:t>
            </a:r>
            <a:fld id="{E6B5151A-17C4-4431-8407-112C0160A8B6}" type="slidenum">
              <a:rPr lang="de-DE" dirty="0" smtClean="0"/>
              <a:pPr>
                <a:spcAft>
                  <a:spcPts val="600"/>
                </a:spcAft>
              </a:pPr>
              <a:t>16</a:t>
            </a:fld>
            <a:endParaRPr lang="de-DE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56FD4F9C-7EA2-B949-8EE8-8112F3A860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6405" y="898525"/>
            <a:ext cx="11377084" cy="863600"/>
          </a:xfrm>
        </p:spPr>
        <p:txBody>
          <a:bodyPr anchor="t">
            <a:normAutofit/>
          </a:bodyPr>
          <a:lstStyle/>
          <a:p>
            <a:r>
              <a:rPr lang="de-DE"/>
              <a:t>Aufgabe 4 – Übungsaufgabe Configuration</a:t>
            </a:r>
            <a:endParaRPr lang="de-DE">
              <a:cs typeface="Arial"/>
            </a:endParaRPr>
          </a:p>
        </p:txBody>
      </p:sp>
      <p:sp>
        <p:nvSpPr>
          <p:cNvPr id="12" name="Content Placeholder 4">
            <a:extLst>
              <a:ext uri="{FF2B5EF4-FFF2-40B4-BE49-F238E27FC236}">
                <a16:creationId xmlns:a16="http://schemas.microsoft.com/office/drawing/2014/main" id="{7180B4F0-FEAF-C77A-2B5D-2094473840C6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06405" y="2033591"/>
            <a:ext cx="11377084" cy="4210049"/>
          </a:xfrm>
        </p:spPr>
        <p:txBody>
          <a:bodyPr/>
          <a:lstStyle/>
          <a:p>
            <a:pPr marL="457200" indent="-457200">
              <a:spcAft>
                <a:spcPts val="1998"/>
              </a:spcAft>
              <a:buAutoNum type="arabicPeriod"/>
            </a:pPr>
            <a:r>
              <a:rPr lang="en-US" sz="2200" err="1">
                <a:ea typeface="+mn-lt"/>
                <a:cs typeface="+mn-lt"/>
              </a:rPr>
              <a:t>Erstellt</a:t>
            </a:r>
            <a:r>
              <a:rPr lang="en-US" sz="2200">
                <a:ea typeface="+mn-lt"/>
                <a:cs typeface="+mn-lt"/>
              </a:rPr>
              <a:t> </a:t>
            </a:r>
            <a:r>
              <a:rPr lang="en-US" sz="2200" err="1">
                <a:ea typeface="+mn-lt"/>
                <a:cs typeface="+mn-lt"/>
              </a:rPr>
              <a:t>eine</a:t>
            </a:r>
            <a:r>
              <a:rPr lang="en-US" sz="2200">
                <a:ea typeface="+mn-lt"/>
                <a:cs typeface="+mn-lt"/>
              </a:rPr>
              <a:t> Configuration-</a:t>
            </a:r>
            <a:r>
              <a:rPr lang="en-US" sz="2200" err="1">
                <a:ea typeface="+mn-lt"/>
                <a:cs typeface="+mn-lt"/>
              </a:rPr>
              <a:t>Datei</a:t>
            </a:r>
            <a:r>
              <a:rPr lang="en-US" sz="2200">
                <a:ea typeface="+mn-lt"/>
                <a:cs typeface="+mn-lt"/>
              </a:rPr>
              <a:t>. </a:t>
            </a:r>
            <a:r>
              <a:rPr lang="en-US" sz="2200" err="1">
                <a:ea typeface="+mn-lt"/>
                <a:cs typeface="+mn-lt"/>
              </a:rPr>
              <a:t>Erstellt</a:t>
            </a:r>
            <a:r>
              <a:rPr lang="en-US" sz="2200">
                <a:ea typeface="+mn-lt"/>
                <a:cs typeface="+mn-lt"/>
              </a:rPr>
              <a:t> </a:t>
            </a:r>
            <a:r>
              <a:rPr lang="en-US" sz="2200" err="1">
                <a:ea typeface="+mn-lt"/>
                <a:cs typeface="+mn-lt"/>
              </a:rPr>
              <a:t>hierzu</a:t>
            </a:r>
            <a:r>
              <a:rPr lang="en-US" sz="2200">
                <a:ea typeface="+mn-lt"/>
                <a:cs typeface="+mn-lt"/>
              </a:rPr>
              <a:t> </a:t>
            </a:r>
            <a:r>
              <a:rPr lang="en-US" sz="2200" err="1">
                <a:ea typeface="+mn-lt"/>
                <a:cs typeface="+mn-lt"/>
              </a:rPr>
              <a:t>eine</a:t>
            </a:r>
            <a:r>
              <a:rPr lang="en-US" sz="2200">
                <a:ea typeface="+mn-lt"/>
                <a:cs typeface="+mn-lt"/>
              </a:rPr>
              <a:t> txt-</a:t>
            </a:r>
            <a:r>
              <a:rPr lang="en-US" sz="2200" err="1">
                <a:ea typeface="+mn-lt"/>
                <a:cs typeface="+mn-lt"/>
              </a:rPr>
              <a:t>Datei</a:t>
            </a:r>
            <a:r>
              <a:rPr lang="en-US" sz="2200">
                <a:ea typeface="+mn-lt"/>
                <a:cs typeface="+mn-lt"/>
              </a:rPr>
              <a:t> und </a:t>
            </a:r>
            <a:r>
              <a:rPr lang="en-US" sz="2200" err="1">
                <a:ea typeface="+mn-lt"/>
                <a:cs typeface="+mn-lt"/>
              </a:rPr>
              <a:t>nennt</a:t>
            </a:r>
            <a:r>
              <a:rPr lang="en-US" sz="2200">
                <a:ea typeface="+mn-lt"/>
                <a:cs typeface="+mn-lt"/>
              </a:rPr>
              <a:t> </a:t>
            </a:r>
            <a:r>
              <a:rPr lang="en-US" sz="2200" err="1">
                <a:ea typeface="+mn-lt"/>
                <a:cs typeface="+mn-lt"/>
              </a:rPr>
              <a:t>sie</a:t>
            </a:r>
            <a:r>
              <a:rPr lang="en-US" sz="2200">
                <a:ea typeface="+mn-lt"/>
                <a:cs typeface="+mn-lt"/>
              </a:rPr>
              <a:t> "</a:t>
            </a:r>
            <a:r>
              <a:rPr lang="en-US" sz="2200" err="1">
                <a:ea typeface="+mn-lt"/>
                <a:cs typeface="+mn-lt"/>
              </a:rPr>
              <a:t>myconfig.pylintrc</a:t>
            </a:r>
            <a:r>
              <a:rPr lang="en-US" sz="2200">
                <a:ea typeface="+mn-lt"/>
                <a:cs typeface="+mn-lt"/>
              </a:rPr>
              <a:t>".</a:t>
            </a:r>
            <a:endParaRPr lang="en-US" sz="2200">
              <a:cs typeface="Arial"/>
            </a:endParaRPr>
          </a:p>
          <a:p>
            <a:pPr marL="744855" lvl="3" indent="-457200">
              <a:spcAft>
                <a:spcPts val="1998"/>
              </a:spcAft>
              <a:buAutoNum type="alphaLcParenR"/>
            </a:pPr>
            <a:r>
              <a:rPr lang="en-US" sz="1950" b="0" err="1">
                <a:cs typeface="Arial"/>
              </a:rPr>
              <a:t>Erstellt</a:t>
            </a:r>
            <a:r>
              <a:rPr lang="en-US" sz="1950" b="0">
                <a:cs typeface="Arial"/>
              </a:rPr>
              <a:t> </a:t>
            </a:r>
            <a:r>
              <a:rPr lang="en-US" sz="1950" b="0" err="1">
                <a:cs typeface="Arial"/>
              </a:rPr>
              <a:t>einen</a:t>
            </a:r>
            <a:r>
              <a:rPr lang="en-US" sz="1950" b="0">
                <a:cs typeface="Arial"/>
              </a:rPr>
              <a:t> "Checker". </a:t>
            </a:r>
            <a:r>
              <a:rPr lang="en-US" sz="1950" b="0" err="1">
                <a:cs typeface="Arial"/>
              </a:rPr>
              <a:t>Schreibt</a:t>
            </a:r>
            <a:r>
              <a:rPr lang="en-US" sz="1950" b="0">
                <a:cs typeface="Arial"/>
              </a:rPr>
              <a:t> </a:t>
            </a:r>
            <a:r>
              <a:rPr lang="en-US" sz="1950" b="0" err="1">
                <a:cs typeface="Arial"/>
              </a:rPr>
              <a:t>dazu</a:t>
            </a:r>
            <a:r>
              <a:rPr lang="en-US" sz="1950" b="0">
                <a:cs typeface="Arial"/>
              </a:rPr>
              <a:t> </a:t>
            </a:r>
            <a:r>
              <a:rPr lang="en-US" sz="1950" b="0" err="1">
                <a:cs typeface="Arial"/>
              </a:rPr>
              <a:t>folgenden</a:t>
            </a:r>
            <a:r>
              <a:rPr lang="en-US" sz="1950" b="0">
                <a:cs typeface="Arial"/>
              </a:rPr>
              <a:t> Text in die "</a:t>
            </a:r>
            <a:r>
              <a:rPr lang="en-US" sz="1950" b="0" err="1">
                <a:cs typeface="Arial"/>
              </a:rPr>
              <a:t>myconfig.pylintrc</a:t>
            </a:r>
            <a:r>
              <a:rPr lang="en-US" sz="1950" b="0">
                <a:cs typeface="Arial"/>
              </a:rPr>
              <a:t>":</a:t>
            </a:r>
            <a:br>
              <a:rPr lang="en-US" sz="1950" b="0">
                <a:cs typeface="Arial"/>
              </a:rPr>
            </a:br>
            <a:r>
              <a:rPr lang="en-US" sz="1950" b="0">
                <a:ea typeface="+mj-lt"/>
                <a:cs typeface="+mj-lt"/>
              </a:rPr>
              <a:t>[MESSAGES CONTROL]</a:t>
            </a:r>
            <a:br>
              <a:rPr lang="en-US" sz="1950" b="0">
                <a:ea typeface="+mj-lt"/>
                <a:cs typeface="+mj-lt"/>
              </a:rPr>
            </a:br>
            <a:r>
              <a:rPr lang="en-US" sz="1950" b="0">
                <a:cs typeface="Arial"/>
              </a:rPr>
              <a:t>--disable=C</a:t>
            </a:r>
          </a:p>
          <a:p>
            <a:pPr marL="287655" lvl="7">
              <a:spcAft>
                <a:spcPts val="1998"/>
              </a:spcAft>
            </a:pPr>
            <a:endParaRPr lang="en-US" sz="1950">
              <a:cs typeface="Arial"/>
            </a:endParaRPr>
          </a:p>
          <a:p>
            <a:pPr marL="457200" indent="-457200">
              <a:spcAft>
                <a:spcPts val="1998"/>
              </a:spcAft>
              <a:buAutoNum type="arabicPeriod"/>
            </a:pPr>
            <a:endParaRPr lang="en-US" sz="2200">
              <a:cs typeface="Arial"/>
            </a:endParaRPr>
          </a:p>
          <a:p>
            <a:pPr marL="457200" indent="-457200">
              <a:spcAft>
                <a:spcPts val="1998"/>
              </a:spcAft>
              <a:buAutoNum type="arabicPeriod"/>
            </a:pPr>
            <a:endParaRPr lang="en-US" sz="2200">
              <a:cs typeface="Arial"/>
            </a:endParaRPr>
          </a:p>
          <a:p>
            <a:pPr>
              <a:spcAft>
                <a:spcPts val="1998"/>
              </a:spcAft>
            </a:pPr>
            <a:endParaRPr lang="en-US" sz="2200">
              <a:cs typeface="Arial"/>
            </a:endParaRPr>
          </a:p>
          <a:p>
            <a:pPr marL="457200" indent="-457200">
              <a:spcAft>
                <a:spcPts val="1998"/>
              </a:spcAft>
              <a:buAutoNum type="arabicPeriod"/>
            </a:pPr>
            <a:endParaRPr lang="en-US" sz="2200">
              <a:cs typeface="Arial"/>
            </a:endParaRPr>
          </a:p>
          <a:p>
            <a:pPr marL="457200" indent="-457200">
              <a:spcAft>
                <a:spcPts val="1998"/>
              </a:spcAft>
              <a:buAutoNum type="arabicPeriod"/>
            </a:pPr>
            <a:endParaRPr lang="en-US" sz="2200"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17302349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B4A332A-0438-519F-4F62-2071DDB4FD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6401" y="6515213"/>
            <a:ext cx="8813273" cy="216000"/>
          </a:xfrm>
        </p:spPr>
        <p:txBody>
          <a:bodyPr anchor="t">
            <a:normAutofit/>
          </a:bodyPr>
          <a:lstStyle/>
          <a:p>
            <a:pPr>
              <a:spcAft>
                <a:spcPts val="600"/>
              </a:spcAft>
            </a:pPr>
            <a:r>
              <a:rPr lang="de-DE"/>
              <a:t>Oliver Daub Dennis Stehle und Robin Starkl | Pylint Workshop | WIN | WiSe 22/3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272DBFBF-0C3A-F61B-A357-C50BD6C527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883778" y="6515213"/>
            <a:ext cx="1899711" cy="216000"/>
          </a:xfrm>
        </p:spPr>
        <p:txBody>
          <a:bodyPr anchor="t">
            <a:normAutofit/>
          </a:bodyPr>
          <a:lstStyle/>
          <a:p>
            <a:pPr>
              <a:spcAft>
                <a:spcPts val="600"/>
              </a:spcAft>
            </a:pPr>
            <a:r>
              <a:rPr lang="de-DE"/>
              <a:t>|  </a:t>
            </a:r>
            <a:fld id="{E6B5151A-17C4-4431-8407-112C0160A8B6}" type="slidenum">
              <a:rPr lang="de-DE" smtClean="0"/>
              <a:pPr>
                <a:spcAft>
                  <a:spcPts val="600"/>
                </a:spcAft>
              </a:pPr>
              <a:t>17</a:t>
            </a:fld>
            <a:endParaRPr lang="de-DE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56FD4F9C-7EA2-B949-8EE8-8112F3A860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6405" y="898525"/>
            <a:ext cx="11377084" cy="863600"/>
          </a:xfrm>
        </p:spPr>
        <p:txBody>
          <a:bodyPr anchor="t">
            <a:normAutofit/>
          </a:bodyPr>
          <a:lstStyle/>
          <a:p>
            <a:r>
              <a:rPr lang="de-DE"/>
              <a:t>Aufgabe 4 – Übungsaufgaben </a:t>
            </a:r>
            <a:endParaRPr lang="de-DE">
              <a:cs typeface="Arial"/>
            </a:endParaRPr>
          </a:p>
        </p:txBody>
      </p:sp>
      <p:sp>
        <p:nvSpPr>
          <p:cNvPr id="12" name="Content Placeholder 4">
            <a:extLst>
              <a:ext uri="{FF2B5EF4-FFF2-40B4-BE49-F238E27FC236}">
                <a16:creationId xmlns:a16="http://schemas.microsoft.com/office/drawing/2014/main" id="{7180B4F0-FEAF-C77A-2B5D-2094473840C6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353853" y="1455522"/>
            <a:ext cx="11377084" cy="4210049"/>
          </a:xfrm>
        </p:spPr>
        <p:txBody>
          <a:bodyPr/>
          <a:lstStyle/>
          <a:p>
            <a:pPr>
              <a:spcAft>
                <a:spcPts val="1998"/>
              </a:spcAft>
            </a:pPr>
            <a:r>
              <a:rPr lang="en-US" sz="2200" err="1">
                <a:ea typeface="+mn-lt"/>
                <a:cs typeface="+mn-lt"/>
              </a:rPr>
              <a:t>Führt</a:t>
            </a:r>
            <a:r>
              <a:rPr lang="en-US" sz="2200">
                <a:ea typeface="+mn-lt"/>
                <a:cs typeface="+mn-lt"/>
              </a:rPr>
              <a:t> </a:t>
            </a:r>
            <a:r>
              <a:rPr lang="en-US" sz="2200" err="1">
                <a:ea typeface="+mn-lt"/>
                <a:cs typeface="+mn-lt"/>
              </a:rPr>
              <a:t>Pylint</a:t>
            </a:r>
            <a:r>
              <a:rPr lang="en-US" sz="2200">
                <a:ea typeface="+mn-lt"/>
                <a:cs typeface="+mn-lt"/>
              </a:rPr>
              <a:t> auf </a:t>
            </a:r>
            <a:r>
              <a:rPr lang="en-US" sz="2200" err="1">
                <a:ea typeface="+mn-lt"/>
                <a:cs typeface="+mn-lt"/>
              </a:rPr>
              <a:t>folgende</a:t>
            </a:r>
            <a:r>
              <a:rPr lang="en-US" sz="2200">
                <a:ea typeface="+mn-lt"/>
                <a:cs typeface="+mn-lt"/>
              </a:rPr>
              <a:t> </a:t>
            </a:r>
            <a:r>
              <a:rPr lang="en-US" sz="2200" err="1">
                <a:ea typeface="+mn-lt"/>
                <a:cs typeface="+mn-lt"/>
              </a:rPr>
              <a:t>Dateien</a:t>
            </a:r>
            <a:r>
              <a:rPr lang="en-US" sz="2200">
                <a:ea typeface="+mn-lt"/>
                <a:cs typeface="+mn-lt"/>
              </a:rPr>
              <a:t> </a:t>
            </a:r>
            <a:r>
              <a:rPr lang="en-US" sz="2200" err="1">
                <a:ea typeface="+mn-lt"/>
                <a:cs typeface="+mn-lt"/>
              </a:rPr>
              <a:t>aus</a:t>
            </a:r>
            <a:r>
              <a:rPr lang="en-US" sz="2200">
                <a:ea typeface="+mn-lt"/>
                <a:cs typeface="+mn-lt"/>
              </a:rPr>
              <a:t> und </a:t>
            </a:r>
            <a:r>
              <a:rPr lang="en-US" sz="2200" err="1">
                <a:ea typeface="+mn-lt"/>
                <a:cs typeface="+mn-lt"/>
              </a:rPr>
              <a:t>behebt</a:t>
            </a:r>
            <a:r>
              <a:rPr lang="en-US" sz="2200">
                <a:ea typeface="+mn-lt"/>
                <a:cs typeface="+mn-lt"/>
              </a:rPr>
              <a:t> die </a:t>
            </a:r>
            <a:r>
              <a:rPr lang="en-US" sz="2200" err="1">
                <a:ea typeface="+mn-lt"/>
                <a:cs typeface="+mn-lt"/>
              </a:rPr>
              <a:t>Rückmeldungen</a:t>
            </a:r>
            <a:r>
              <a:rPr lang="en-US" sz="2200">
                <a:ea typeface="+mn-lt"/>
                <a:cs typeface="+mn-lt"/>
              </a:rPr>
              <a:t>:</a:t>
            </a:r>
            <a:endParaRPr lang="en-US" sz="2200" err="1">
              <a:cs typeface="Arial"/>
            </a:endParaRPr>
          </a:p>
          <a:p>
            <a:pPr marL="630555" lvl="3" indent="-342900">
              <a:spcAft>
                <a:spcPts val="1998"/>
              </a:spcAft>
              <a:buChar char="•"/>
            </a:pPr>
            <a:r>
              <a:rPr lang="en-US" sz="1950" b="0">
                <a:cs typeface="Arial"/>
              </a:rPr>
              <a:t>Error.py / </a:t>
            </a:r>
            <a:r>
              <a:rPr lang="en-US" sz="1950" b="0" err="1">
                <a:cs typeface="Arial"/>
              </a:rPr>
              <a:t>Behebt</a:t>
            </a:r>
            <a:r>
              <a:rPr lang="en-US" sz="1950" b="0">
                <a:cs typeface="Arial"/>
              </a:rPr>
              <a:t> </a:t>
            </a:r>
            <a:r>
              <a:rPr lang="en-US" sz="1950" b="0" err="1">
                <a:cs typeface="Arial"/>
              </a:rPr>
              <a:t>nur</a:t>
            </a:r>
            <a:r>
              <a:rPr lang="en-US" sz="1950" b="0">
                <a:cs typeface="Arial"/>
              </a:rPr>
              <a:t> die Errors! </a:t>
            </a:r>
            <a:r>
              <a:rPr lang="en-US" sz="1950" b="0" err="1">
                <a:cs typeface="Arial"/>
              </a:rPr>
              <a:t>Filtert</a:t>
            </a:r>
            <a:r>
              <a:rPr lang="en-US" sz="1950" b="0">
                <a:cs typeface="Arial"/>
              </a:rPr>
              <a:t> alle </a:t>
            </a:r>
            <a:r>
              <a:rPr lang="en-US" sz="1950" b="0" err="1">
                <a:cs typeface="Arial"/>
              </a:rPr>
              <a:t>Rückmeldungen</a:t>
            </a:r>
            <a:r>
              <a:rPr lang="en-US" sz="1950" b="0">
                <a:cs typeface="Arial"/>
              </a:rPr>
              <a:t> </a:t>
            </a:r>
            <a:r>
              <a:rPr lang="en-US" sz="1950" b="0" err="1">
                <a:cs typeface="Arial"/>
              </a:rPr>
              <a:t>raus</a:t>
            </a:r>
            <a:r>
              <a:rPr lang="en-US" sz="1950" b="0">
                <a:cs typeface="Arial"/>
              </a:rPr>
              <a:t>, </a:t>
            </a:r>
            <a:r>
              <a:rPr lang="en-US" sz="1950" b="0" err="1">
                <a:cs typeface="Arial"/>
              </a:rPr>
              <a:t>welche</a:t>
            </a:r>
            <a:r>
              <a:rPr lang="en-US" sz="1950" b="0">
                <a:cs typeface="Arial"/>
              </a:rPr>
              <a:t> </a:t>
            </a:r>
            <a:r>
              <a:rPr lang="en-US" sz="1950" b="0" err="1">
                <a:cs typeface="Arial"/>
              </a:rPr>
              <a:t>nicht</a:t>
            </a:r>
            <a:r>
              <a:rPr lang="en-US" sz="1950" b="0">
                <a:cs typeface="Arial"/>
              </a:rPr>
              <a:t> </a:t>
            </a:r>
            <a:r>
              <a:rPr lang="en-US" sz="1950" b="0" err="1">
                <a:cs typeface="Arial"/>
              </a:rPr>
              <a:t>zum</a:t>
            </a:r>
            <a:r>
              <a:rPr lang="en-US" sz="1950" b="0">
                <a:cs typeface="Arial"/>
              </a:rPr>
              <a:t> </a:t>
            </a:r>
            <a:r>
              <a:rPr lang="en-US" sz="1950" b="0" err="1">
                <a:cs typeface="Arial"/>
              </a:rPr>
              <a:t>Typ</a:t>
            </a:r>
            <a:r>
              <a:rPr lang="en-US" sz="1950" b="0">
                <a:cs typeface="Arial"/>
              </a:rPr>
              <a:t> "Error" </a:t>
            </a:r>
            <a:r>
              <a:rPr lang="en-US" sz="1950" b="0" err="1">
                <a:cs typeface="Arial"/>
              </a:rPr>
              <a:t>gehören</a:t>
            </a:r>
            <a:r>
              <a:rPr lang="en-US" sz="1950" b="0">
                <a:cs typeface="Arial"/>
              </a:rPr>
              <a:t>. </a:t>
            </a:r>
            <a:endParaRPr lang="en-US" sz="1950">
              <a:cs typeface="Arial"/>
            </a:endParaRPr>
          </a:p>
          <a:p>
            <a:pPr marL="630555" lvl="3" indent="-342900">
              <a:spcAft>
                <a:spcPts val="1998"/>
              </a:spcAft>
              <a:buChar char="•"/>
            </a:pPr>
            <a:r>
              <a:rPr lang="en-US" sz="1950" b="0">
                <a:cs typeface="Arial"/>
              </a:rPr>
              <a:t>Refactor.py / </a:t>
            </a:r>
            <a:r>
              <a:rPr lang="en-US" sz="1950" b="0" err="1">
                <a:ea typeface="+mj-lt"/>
                <a:cs typeface="+mj-lt"/>
              </a:rPr>
              <a:t>Behebt</a:t>
            </a:r>
            <a:r>
              <a:rPr lang="en-US" sz="1950" b="0">
                <a:ea typeface="+mj-lt"/>
                <a:cs typeface="+mj-lt"/>
              </a:rPr>
              <a:t> </a:t>
            </a:r>
            <a:r>
              <a:rPr lang="en-US" sz="1950" b="0" err="1">
                <a:ea typeface="+mj-lt"/>
                <a:cs typeface="+mj-lt"/>
              </a:rPr>
              <a:t>nur</a:t>
            </a:r>
            <a:r>
              <a:rPr lang="en-US" sz="1950" b="0">
                <a:ea typeface="+mj-lt"/>
                <a:cs typeface="+mj-lt"/>
              </a:rPr>
              <a:t> die Refactors! </a:t>
            </a:r>
            <a:r>
              <a:rPr lang="en-US" sz="1950" b="0" err="1">
                <a:ea typeface="+mj-lt"/>
                <a:cs typeface="+mj-lt"/>
              </a:rPr>
              <a:t>Filtert</a:t>
            </a:r>
            <a:r>
              <a:rPr lang="en-US" sz="1950" b="0">
                <a:ea typeface="+mj-lt"/>
                <a:cs typeface="+mj-lt"/>
              </a:rPr>
              <a:t> alle </a:t>
            </a:r>
            <a:r>
              <a:rPr lang="en-US" sz="1950" b="0" err="1">
                <a:ea typeface="+mj-lt"/>
                <a:cs typeface="+mj-lt"/>
              </a:rPr>
              <a:t>Rückmeldungen</a:t>
            </a:r>
            <a:r>
              <a:rPr lang="en-US" sz="1950" b="0">
                <a:ea typeface="+mj-lt"/>
                <a:cs typeface="+mj-lt"/>
              </a:rPr>
              <a:t> </a:t>
            </a:r>
            <a:r>
              <a:rPr lang="en-US" sz="1950" b="0" err="1">
                <a:ea typeface="+mj-lt"/>
                <a:cs typeface="+mj-lt"/>
              </a:rPr>
              <a:t>raus</a:t>
            </a:r>
            <a:r>
              <a:rPr lang="en-US" sz="1950" b="0">
                <a:ea typeface="+mj-lt"/>
                <a:cs typeface="+mj-lt"/>
              </a:rPr>
              <a:t>, </a:t>
            </a:r>
            <a:r>
              <a:rPr lang="en-US" sz="1950" b="0" err="1">
                <a:ea typeface="+mj-lt"/>
                <a:cs typeface="+mj-lt"/>
              </a:rPr>
              <a:t>welche</a:t>
            </a:r>
            <a:r>
              <a:rPr lang="en-US" sz="1950" b="0">
                <a:ea typeface="+mj-lt"/>
                <a:cs typeface="+mj-lt"/>
              </a:rPr>
              <a:t> </a:t>
            </a:r>
            <a:r>
              <a:rPr lang="en-US" sz="1950" b="0" err="1">
                <a:ea typeface="+mj-lt"/>
                <a:cs typeface="+mj-lt"/>
              </a:rPr>
              <a:t>nicht</a:t>
            </a:r>
            <a:r>
              <a:rPr lang="en-US" sz="1950" b="0">
                <a:ea typeface="+mj-lt"/>
                <a:cs typeface="+mj-lt"/>
              </a:rPr>
              <a:t> </a:t>
            </a:r>
            <a:r>
              <a:rPr lang="en-US" sz="1950" b="0" err="1">
                <a:ea typeface="+mj-lt"/>
                <a:cs typeface="+mj-lt"/>
              </a:rPr>
              <a:t>zum</a:t>
            </a:r>
            <a:r>
              <a:rPr lang="en-US" sz="1950" b="0">
                <a:ea typeface="+mj-lt"/>
                <a:cs typeface="+mj-lt"/>
              </a:rPr>
              <a:t> </a:t>
            </a:r>
            <a:r>
              <a:rPr lang="en-US" sz="1950" b="0" err="1">
                <a:ea typeface="+mj-lt"/>
                <a:cs typeface="+mj-lt"/>
              </a:rPr>
              <a:t>Typ</a:t>
            </a:r>
            <a:r>
              <a:rPr lang="en-US" sz="1950" b="0">
                <a:ea typeface="+mj-lt"/>
                <a:cs typeface="+mj-lt"/>
              </a:rPr>
              <a:t> "Refactor" </a:t>
            </a:r>
            <a:r>
              <a:rPr lang="en-US" sz="1950" b="0" err="1">
                <a:ea typeface="+mj-lt"/>
                <a:cs typeface="+mj-lt"/>
              </a:rPr>
              <a:t>gehören</a:t>
            </a:r>
            <a:r>
              <a:rPr lang="en-US" sz="1950" b="0">
                <a:ea typeface="+mj-lt"/>
                <a:cs typeface="+mj-lt"/>
              </a:rPr>
              <a:t>. </a:t>
            </a:r>
            <a:endParaRPr lang="en-US" sz="1950" b="0">
              <a:cs typeface="Arial"/>
            </a:endParaRPr>
          </a:p>
          <a:p>
            <a:pPr marL="630555" lvl="3" indent="-342900">
              <a:spcAft>
                <a:spcPts val="1998"/>
              </a:spcAft>
              <a:buChar char="•"/>
            </a:pPr>
            <a:r>
              <a:rPr lang="en-US" sz="1950" b="0">
                <a:cs typeface="Arial"/>
              </a:rPr>
              <a:t>Warning.py / </a:t>
            </a:r>
            <a:r>
              <a:rPr lang="en-US" sz="1950" b="0" err="1">
                <a:ea typeface="+mj-lt"/>
                <a:cs typeface="+mj-lt"/>
              </a:rPr>
              <a:t>Behebt</a:t>
            </a:r>
            <a:r>
              <a:rPr lang="en-US" sz="1950" b="0">
                <a:ea typeface="+mj-lt"/>
                <a:cs typeface="+mj-lt"/>
              </a:rPr>
              <a:t> </a:t>
            </a:r>
            <a:r>
              <a:rPr lang="en-US" sz="1950" b="0" err="1">
                <a:ea typeface="+mj-lt"/>
                <a:cs typeface="+mj-lt"/>
              </a:rPr>
              <a:t>nur</a:t>
            </a:r>
            <a:r>
              <a:rPr lang="en-US" sz="1950" b="0">
                <a:ea typeface="+mj-lt"/>
                <a:cs typeface="+mj-lt"/>
              </a:rPr>
              <a:t> die Warnings! </a:t>
            </a:r>
            <a:r>
              <a:rPr lang="en-US" sz="1950" b="0" err="1">
                <a:ea typeface="+mj-lt"/>
                <a:cs typeface="+mj-lt"/>
              </a:rPr>
              <a:t>Filtert</a:t>
            </a:r>
            <a:r>
              <a:rPr lang="en-US" sz="1950" b="0">
                <a:ea typeface="+mj-lt"/>
                <a:cs typeface="+mj-lt"/>
              </a:rPr>
              <a:t> alle </a:t>
            </a:r>
            <a:r>
              <a:rPr lang="en-US" sz="1950" b="0" err="1">
                <a:ea typeface="+mj-lt"/>
                <a:cs typeface="+mj-lt"/>
              </a:rPr>
              <a:t>Rückmeldungen</a:t>
            </a:r>
            <a:r>
              <a:rPr lang="en-US" sz="1950" b="0">
                <a:ea typeface="+mj-lt"/>
                <a:cs typeface="+mj-lt"/>
              </a:rPr>
              <a:t> </a:t>
            </a:r>
            <a:r>
              <a:rPr lang="en-US" sz="1950" b="0" err="1">
                <a:ea typeface="+mj-lt"/>
                <a:cs typeface="+mj-lt"/>
              </a:rPr>
              <a:t>raus</a:t>
            </a:r>
            <a:r>
              <a:rPr lang="en-US" sz="1950" b="0">
                <a:ea typeface="+mj-lt"/>
                <a:cs typeface="+mj-lt"/>
              </a:rPr>
              <a:t>, </a:t>
            </a:r>
            <a:r>
              <a:rPr lang="en-US" sz="1950" b="0" err="1">
                <a:ea typeface="+mj-lt"/>
                <a:cs typeface="+mj-lt"/>
              </a:rPr>
              <a:t>welche</a:t>
            </a:r>
            <a:r>
              <a:rPr lang="en-US" sz="1950" b="0">
                <a:ea typeface="+mj-lt"/>
                <a:cs typeface="+mj-lt"/>
              </a:rPr>
              <a:t> </a:t>
            </a:r>
            <a:r>
              <a:rPr lang="en-US" sz="1950" b="0" err="1">
                <a:ea typeface="+mj-lt"/>
                <a:cs typeface="+mj-lt"/>
              </a:rPr>
              <a:t>nicht</a:t>
            </a:r>
            <a:r>
              <a:rPr lang="en-US" sz="1950" b="0">
                <a:ea typeface="+mj-lt"/>
                <a:cs typeface="+mj-lt"/>
              </a:rPr>
              <a:t> </a:t>
            </a:r>
            <a:r>
              <a:rPr lang="en-US" sz="1950" b="0" err="1">
                <a:ea typeface="+mj-lt"/>
                <a:cs typeface="+mj-lt"/>
              </a:rPr>
              <a:t>zum</a:t>
            </a:r>
            <a:r>
              <a:rPr lang="en-US" sz="1950" b="0">
                <a:ea typeface="+mj-lt"/>
                <a:cs typeface="+mj-lt"/>
              </a:rPr>
              <a:t> </a:t>
            </a:r>
            <a:r>
              <a:rPr lang="en-US" sz="1950" b="0" err="1">
                <a:ea typeface="+mj-lt"/>
                <a:cs typeface="+mj-lt"/>
              </a:rPr>
              <a:t>Typ</a:t>
            </a:r>
            <a:r>
              <a:rPr lang="en-US" sz="1950" b="0">
                <a:ea typeface="+mj-lt"/>
                <a:cs typeface="+mj-lt"/>
              </a:rPr>
              <a:t> "Warning" </a:t>
            </a:r>
            <a:r>
              <a:rPr lang="en-US" sz="1950" b="0" err="1">
                <a:ea typeface="+mj-lt"/>
                <a:cs typeface="+mj-lt"/>
              </a:rPr>
              <a:t>gehören</a:t>
            </a:r>
            <a:r>
              <a:rPr lang="en-US" sz="1950" b="0">
                <a:ea typeface="+mj-lt"/>
                <a:cs typeface="+mj-lt"/>
              </a:rPr>
              <a:t>. </a:t>
            </a:r>
          </a:p>
          <a:p>
            <a:pPr marL="630555" lvl="3" indent="-342900">
              <a:spcAft>
                <a:spcPts val="1998"/>
              </a:spcAft>
              <a:buChar char="•"/>
            </a:pPr>
            <a:r>
              <a:rPr lang="en-US" sz="1950" b="0">
                <a:ea typeface="+mj-lt"/>
                <a:cs typeface="+mj-lt"/>
              </a:rPr>
              <a:t>Tipp</a:t>
            </a:r>
            <a:r>
              <a:rPr lang="en-US" sz="1950" b="0">
                <a:cs typeface="Arial"/>
              </a:rPr>
              <a:t>: Parallele </a:t>
            </a:r>
            <a:r>
              <a:rPr lang="en-US" sz="1950" b="0" err="1">
                <a:cs typeface="Arial"/>
              </a:rPr>
              <a:t>ausführung</a:t>
            </a:r>
            <a:r>
              <a:rPr lang="en-US" sz="1950" b="0">
                <a:cs typeface="Arial"/>
              </a:rPr>
              <a:t> </a:t>
            </a:r>
            <a:r>
              <a:rPr lang="en-US" sz="1950" b="0" err="1">
                <a:cs typeface="Arial"/>
              </a:rPr>
              <a:t>durch</a:t>
            </a:r>
            <a:r>
              <a:rPr lang="en-US" sz="1950" b="0">
                <a:cs typeface="Arial"/>
              </a:rPr>
              <a:t> "</a:t>
            </a:r>
            <a:r>
              <a:rPr lang="en-US" sz="1950" b="0" err="1">
                <a:cs typeface="Arial"/>
              </a:rPr>
              <a:t>pylint</a:t>
            </a:r>
            <a:r>
              <a:rPr lang="en-US" sz="1950" b="0">
                <a:cs typeface="Arial"/>
              </a:rPr>
              <a:t> &lt;dateiname1&gt;.</a:t>
            </a:r>
            <a:r>
              <a:rPr lang="en-US" sz="1950" b="0" err="1">
                <a:cs typeface="Arial"/>
              </a:rPr>
              <a:t>py</a:t>
            </a:r>
            <a:r>
              <a:rPr lang="en-US" sz="1950" b="0">
                <a:cs typeface="Arial"/>
              </a:rPr>
              <a:t>, &lt;dateiname2&gt;.</a:t>
            </a:r>
            <a:r>
              <a:rPr lang="en-US" sz="1950" b="0" err="1">
                <a:cs typeface="Arial"/>
              </a:rPr>
              <a:t>py</a:t>
            </a:r>
            <a:r>
              <a:rPr lang="en-US" sz="1950" b="0">
                <a:cs typeface="Arial"/>
              </a:rPr>
              <a:t>, …"</a:t>
            </a:r>
            <a:br>
              <a:rPr lang="en-US" sz="1950" b="0">
                <a:cs typeface="Arial"/>
              </a:rPr>
            </a:br>
            <a:r>
              <a:rPr lang="en-US" sz="1950" b="0" err="1">
                <a:cs typeface="Arial"/>
              </a:rPr>
              <a:t>Ihr</a:t>
            </a:r>
            <a:r>
              <a:rPr lang="en-US" sz="1950" b="0">
                <a:cs typeface="Arial"/>
              </a:rPr>
              <a:t> </a:t>
            </a:r>
            <a:r>
              <a:rPr lang="en-US" sz="1950" b="0" err="1">
                <a:cs typeface="Arial"/>
              </a:rPr>
              <a:t>könnt</a:t>
            </a:r>
            <a:r>
              <a:rPr lang="en-US" sz="1950" b="0">
                <a:cs typeface="Arial"/>
              </a:rPr>
              <a:t> </a:t>
            </a:r>
            <a:r>
              <a:rPr lang="en-US" sz="1950" b="0" err="1">
                <a:cs typeface="Arial"/>
              </a:rPr>
              <a:t>zum</a:t>
            </a:r>
            <a:r>
              <a:rPr lang="en-US" sz="1950" b="0">
                <a:cs typeface="Arial"/>
              </a:rPr>
              <a:t> </a:t>
            </a:r>
            <a:r>
              <a:rPr lang="en-US" sz="1950" b="0" err="1">
                <a:cs typeface="Arial"/>
              </a:rPr>
              <a:t>filtern</a:t>
            </a:r>
            <a:r>
              <a:rPr lang="en-US" sz="1950" b="0">
                <a:cs typeface="Arial"/>
              </a:rPr>
              <a:t> –disable=&lt;message (id)&gt; </a:t>
            </a:r>
            <a:r>
              <a:rPr lang="en-US" sz="1950" b="0" err="1">
                <a:cs typeface="Arial"/>
              </a:rPr>
              <a:t>im</a:t>
            </a:r>
            <a:r>
              <a:rPr lang="en-US" sz="1950" b="0">
                <a:cs typeface="Arial"/>
              </a:rPr>
              <a:t> Terminal </a:t>
            </a:r>
            <a:r>
              <a:rPr lang="en-US" sz="1950" b="0" err="1">
                <a:cs typeface="Arial"/>
              </a:rPr>
              <a:t>oder</a:t>
            </a:r>
            <a:r>
              <a:rPr lang="en-US" sz="1950" b="0">
                <a:cs typeface="Arial"/>
              </a:rPr>
              <a:t> in der Config-</a:t>
            </a:r>
            <a:r>
              <a:rPr lang="en-US" sz="1950" b="0" err="1">
                <a:cs typeface="Arial"/>
              </a:rPr>
              <a:t>Datei</a:t>
            </a:r>
            <a:r>
              <a:rPr lang="en-US" sz="1950" b="0">
                <a:cs typeface="Arial"/>
              </a:rPr>
              <a:t> </a:t>
            </a:r>
            <a:r>
              <a:rPr lang="en-US" sz="1950" b="0" err="1">
                <a:cs typeface="Arial"/>
              </a:rPr>
              <a:t>eingeben</a:t>
            </a:r>
            <a:r>
              <a:rPr lang="en-US" sz="1950" b="0">
                <a:cs typeface="Arial"/>
              </a:rPr>
              <a:t>.</a:t>
            </a:r>
          </a:p>
          <a:p>
            <a:pPr marL="457200" indent="-457200">
              <a:spcAft>
                <a:spcPts val="1998"/>
              </a:spcAft>
              <a:buAutoNum type="arabicPeriod"/>
            </a:pPr>
            <a:endParaRPr lang="en-US" sz="2200">
              <a:cs typeface="Arial"/>
            </a:endParaRPr>
          </a:p>
          <a:p>
            <a:pPr marL="457200" indent="-457200">
              <a:spcAft>
                <a:spcPts val="1998"/>
              </a:spcAft>
              <a:buAutoNum type="arabicPeriod"/>
            </a:pPr>
            <a:endParaRPr lang="en-US" sz="2200">
              <a:cs typeface="Arial"/>
            </a:endParaRPr>
          </a:p>
          <a:p>
            <a:pPr>
              <a:spcAft>
                <a:spcPts val="1998"/>
              </a:spcAft>
            </a:pPr>
            <a:endParaRPr lang="en-US" sz="2200">
              <a:cs typeface="Arial"/>
            </a:endParaRPr>
          </a:p>
          <a:p>
            <a:pPr marL="457200" indent="-457200">
              <a:spcAft>
                <a:spcPts val="1998"/>
              </a:spcAft>
              <a:buAutoNum type="arabicPeriod"/>
            </a:pPr>
            <a:endParaRPr lang="en-US" sz="2200">
              <a:cs typeface="Arial"/>
            </a:endParaRPr>
          </a:p>
          <a:p>
            <a:pPr marL="457200" indent="-457200">
              <a:spcAft>
                <a:spcPts val="1998"/>
              </a:spcAft>
              <a:buAutoNum type="arabicPeriod"/>
            </a:pPr>
            <a:endParaRPr lang="en-US" sz="2200"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7646499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B4A332A-0438-519F-4F62-2071DDB4FD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6401" y="6515213"/>
            <a:ext cx="8813273" cy="216000"/>
          </a:xfrm>
        </p:spPr>
        <p:txBody>
          <a:bodyPr anchor="t">
            <a:normAutofit/>
          </a:bodyPr>
          <a:lstStyle/>
          <a:p>
            <a:pPr>
              <a:spcAft>
                <a:spcPts val="600"/>
              </a:spcAft>
            </a:pPr>
            <a:r>
              <a:rPr lang="de-DE"/>
              <a:t>Oliver Daub Dennis Stehle und Robin Starkl | Pylint Workshop | WIN | WiSe 22/3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272DBFBF-0C3A-F61B-A357-C50BD6C527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883778" y="6515213"/>
            <a:ext cx="1899711" cy="216000"/>
          </a:xfrm>
        </p:spPr>
        <p:txBody>
          <a:bodyPr anchor="t">
            <a:normAutofit/>
          </a:bodyPr>
          <a:lstStyle/>
          <a:p>
            <a:pPr>
              <a:spcAft>
                <a:spcPts val="600"/>
              </a:spcAft>
            </a:pPr>
            <a:r>
              <a:rPr lang="de-DE"/>
              <a:t>|  </a:t>
            </a:r>
            <a:fld id="{E6B5151A-17C4-4431-8407-112C0160A8B6}" type="slidenum">
              <a:rPr lang="de-DE" smtClean="0"/>
              <a:pPr>
                <a:spcAft>
                  <a:spcPts val="600"/>
                </a:spcAft>
              </a:pPr>
              <a:t>18</a:t>
            </a:fld>
            <a:endParaRPr lang="de-DE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56FD4F9C-7EA2-B949-8EE8-8112F3A860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6405" y="898525"/>
            <a:ext cx="11377084" cy="863600"/>
          </a:xfrm>
        </p:spPr>
        <p:txBody>
          <a:bodyPr anchor="t">
            <a:normAutofit/>
          </a:bodyPr>
          <a:lstStyle/>
          <a:p>
            <a:r>
              <a:rPr lang="de-DE"/>
              <a:t>Bonusaufgabe</a:t>
            </a:r>
            <a:endParaRPr lang="de-DE">
              <a:cs typeface="Arial"/>
            </a:endParaRPr>
          </a:p>
        </p:txBody>
      </p:sp>
      <p:sp>
        <p:nvSpPr>
          <p:cNvPr id="12" name="Content Placeholder 4">
            <a:extLst>
              <a:ext uri="{FF2B5EF4-FFF2-40B4-BE49-F238E27FC236}">
                <a16:creationId xmlns:a16="http://schemas.microsoft.com/office/drawing/2014/main" id="{7180B4F0-FEAF-C77A-2B5D-2094473840C6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06405" y="2033591"/>
            <a:ext cx="11377084" cy="4210049"/>
          </a:xfrm>
        </p:spPr>
        <p:txBody>
          <a:bodyPr/>
          <a:lstStyle/>
          <a:p>
            <a:pPr marL="457200" indent="-457200">
              <a:spcAft>
                <a:spcPts val="1998"/>
              </a:spcAft>
              <a:buAutoNum type="arabicPeriod"/>
            </a:pPr>
            <a:endParaRPr lang="en-US" sz="2200">
              <a:cs typeface="Arial"/>
            </a:endParaRPr>
          </a:p>
          <a:p>
            <a:pPr marL="457200" indent="-457200">
              <a:spcAft>
                <a:spcPts val="1998"/>
              </a:spcAft>
              <a:buAutoNum type="arabicPeriod"/>
            </a:pPr>
            <a:endParaRPr lang="en-US" sz="2200">
              <a:cs typeface="Arial"/>
            </a:endParaRPr>
          </a:p>
          <a:p>
            <a:pPr marL="457200" indent="-457200">
              <a:spcAft>
                <a:spcPts val="1998"/>
              </a:spcAft>
              <a:buAutoNum type="arabicPeriod"/>
            </a:pPr>
            <a:endParaRPr lang="en-US" sz="2200">
              <a:cs typeface="Arial"/>
            </a:endParaRPr>
          </a:p>
          <a:p>
            <a:pPr>
              <a:spcAft>
                <a:spcPts val="1998"/>
              </a:spcAft>
            </a:pPr>
            <a:endParaRPr lang="en-US" sz="2200">
              <a:cs typeface="Arial"/>
            </a:endParaRPr>
          </a:p>
          <a:p>
            <a:pPr marL="457200" indent="-457200">
              <a:spcAft>
                <a:spcPts val="1998"/>
              </a:spcAft>
              <a:buAutoNum type="arabicPeriod"/>
            </a:pPr>
            <a:endParaRPr lang="en-US" sz="2200">
              <a:cs typeface="Arial"/>
            </a:endParaRPr>
          </a:p>
          <a:p>
            <a:pPr marL="457200" indent="-457200">
              <a:spcAft>
                <a:spcPts val="1998"/>
              </a:spcAft>
              <a:buAutoNum type="arabicPeriod"/>
            </a:pPr>
            <a:endParaRPr lang="en-US" sz="2200">
              <a:cs typeface="Arial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4ACD552-72BD-9876-86EE-61E817E14583}"/>
              </a:ext>
            </a:extLst>
          </p:cNvPr>
          <p:cNvSpPr txBox="1"/>
          <p:nvPr/>
        </p:nvSpPr>
        <p:spPr>
          <a:xfrm>
            <a:off x="508000" y="2123440"/>
            <a:ext cx="8575040" cy="1200329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err="1">
                <a:cs typeface="Arial"/>
              </a:rPr>
              <a:t>Führt</a:t>
            </a:r>
            <a:r>
              <a:rPr lang="en-US">
                <a:cs typeface="Arial"/>
              </a:rPr>
              <a:t> </a:t>
            </a:r>
            <a:r>
              <a:rPr lang="en-US" err="1">
                <a:cs typeface="Arial"/>
              </a:rPr>
              <a:t>Pylint</a:t>
            </a:r>
            <a:r>
              <a:rPr lang="en-US">
                <a:cs typeface="Arial"/>
              </a:rPr>
              <a:t> auf der "MaXeRrOrS.py" </a:t>
            </a:r>
            <a:r>
              <a:rPr lang="en-US" err="1">
                <a:cs typeface="Arial"/>
              </a:rPr>
              <a:t>Datei</a:t>
            </a:r>
            <a:r>
              <a:rPr lang="en-US">
                <a:cs typeface="Arial"/>
              </a:rPr>
              <a:t> </a:t>
            </a:r>
            <a:r>
              <a:rPr lang="en-US" err="1">
                <a:cs typeface="Arial"/>
              </a:rPr>
              <a:t>aus</a:t>
            </a:r>
            <a:r>
              <a:rPr lang="en-US">
                <a:cs typeface="Arial"/>
              </a:rPr>
              <a:t> und </a:t>
            </a:r>
            <a:r>
              <a:rPr lang="en-US" err="1">
                <a:cs typeface="Arial"/>
              </a:rPr>
              <a:t>sorgt</a:t>
            </a:r>
            <a:r>
              <a:rPr lang="en-US">
                <a:cs typeface="Arial"/>
              </a:rPr>
              <a:t> für </a:t>
            </a:r>
            <a:r>
              <a:rPr lang="en-US" err="1">
                <a:cs typeface="Arial"/>
              </a:rPr>
              <a:t>einen</a:t>
            </a:r>
            <a:r>
              <a:rPr lang="en-US">
                <a:cs typeface="Arial"/>
              </a:rPr>
              <a:t> Score von 10.</a:t>
            </a:r>
          </a:p>
          <a:p>
            <a:endParaRPr lang="en-US">
              <a:cs typeface="Arial"/>
            </a:endParaRPr>
          </a:p>
          <a:p>
            <a:r>
              <a:rPr lang="en-US" err="1">
                <a:cs typeface="Arial"/>
              </a:rPr>
              <a:t>Ihr</a:t>
            </a:r>
            <a:r>
              <a:rPr lang="en-US">
                <a:cs typeface="Arial"/>
              </a:rPr>
              <a:t> </a:t>
            </a:r>
            <a:r>
              <a:rPr lang="en-US" err="1">
                <a:cs typeface="Arial"/>
              </a:rPr>
              <a:t>dürft</a:t>
            </a:r>
            <a:r>
              <a:rPr lang="en-US">
                <a:cs typeface="Arial"/>
              </a:rPr>
              <a:t> 3 Sachen in der Config-</a:t>
            </a:r>
            <a:r>
              <a:rPr lang="en-US" err="1">
                <a:cs typeface="Arial"/>
              </a:rPr>
              <a:t>Datei</a:t>
            </a:r>
            <a:r>
              <a:rPr lang="en-US">
                <a:cs typeface="Arial"/>
              </a:rPr>
              <a:t> </a:t>
            </a:r>
            <a:r>
              <a:rPr lang="en-US" err="1">
                <a:cs typeface="Arial"/>
              </a:rPr>
              <a:t>verändern</a:t>
            </a:r>
            <a:r>
              <a:rPr lang="en-US">
                <a:cs typeface="Arial"/>
              </a:rPr>
              <a:t> </a:t>
            </a:r>
            <a:r>
              <a:rPr lang="en-US" err="1">
                <a:cs typeface="Arial"/>
              </a:rPr>
              <a:t>oder</a:t>
            </a:r>
            <a:r>
              <a:rPr lang="en-US">
                <a:cs typeface="Arial"/>
              </a:rPr>
              <a:t> </a:t>
            </a:r>
            <a:r>
              <a:rPr lang="en-US" err="1">
                <a:cs typeface="Arial"/>
              </a:rPr>
              <a:t>deaktivieren</a:t>
            </a:r>
            <a:r>
              <a:rPr lang="en-US">
                <a:cs typeface="Arial"/>
              </a:rPr>
              <a:t>, die </a:t>
            </a:r>
            <a:r>
              <a:rPr lang="en-US" err="1">
                <a:cs typeface="Arial"/>
              </a:rPr>
              <a:t>euch</a:t>
            </a:r>
            <a:r>
              <a:rPr lang="en-US">
                <a:cs typeface="Arial"/>
              </a:rPr>
              <a:t> </a:t>
            </a:r>
            <a:r>
              <a:rPr lang="en-US" err="1">
                <a:cs typeface="Arial"/>
              </a:rPr>
              <a:t>helfen</a:t>
            </a:r>
            <a:r>
              <a:rPr lang="en-US">
                <a:cs typeface="Arial"/>
              </a:rPr>
              <a:t> </a:t>
            </a:r>
            <a:r>
              <a:rPr lang="en-US" err="1">
                <a:cs typeface="Arial"/>
              </a:rPr>
              <a:t>eure</a:t>
            </a:r>
            <a:r>
              <a:rPr lang="en-US">
                <a:cs typeface="Arial"/>
              </a:rPr>
              <a:t> </a:t>
            </a:r>
            <a:r>
              <a:rPr lang="en-US" err="1">
                <a:cs typeface="Arial"/>
              </a:rPr>
              <a:t>Rückmeldungen</a:t>
            </a:r>
            <a:r>
              <a:rPr lang="en-US">
                <a:cs typeface="Arial"/>
              </a:rPr>
              <a:t> </a:t>
            </a:r>
            <a:r>
              <a:rPr lang="en-US" err="1">
                <a:cs typeface="Arial"/>
              </a:rPr>
              <a:t>zu</a:t>
            </a:r>
            <a:r>
              <a:rPr lang="en-US">
                <a:cs typeface="Arial"/>
              </a:rPr>
              <a:t> </a:t>
            </a:r>
            <a:r>
              <a:rPr lang="en-US" err="1">
                <a:cs typeface="Arial"/>
              </a:rPr>
              <a:t>beheben</a:t>
            </a:r>
            <a:r>
              <a:rPr lang="en-US">
                <a:cs typeface="Arial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42991664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5FEFF07-7AFF-3A3C-6DBF-10B5C609AE7A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/>
              <a:t>Praxis Teil 3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2FB280B-6E84-A340-EBB9-D1B40FFD0C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Oliver Daub Dennis Stehle und Robin Starkl | Pylint Workshop | WIN | WiSe 22/3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90046583-39D3-0AE4-5C8C-FDD4FDAFC3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/>
              <a:t>|  </a:t>
            </a:r>
            <a:fld id="{E6B5151A-17C4-4431-8407-112C0160A8B6}" type="slidenum">
              <a:rPr lang="de-DE" smtClean="0"/>
              <a:pPr/>
              <a:t>19</a:t>
            </a:fld>
            <a:endParaRPr lang="de-DE"/>
          </a:p>
        </p:txBody>
      </p:sp>
      <p:sp>
        <p:nvSpPr>
          <p:cNvPr id="5" name="Vertikaler Textplatzhalter 4">
            <a:extLst>
              <a:ext uri="{FF2B5EF4-FFF2-40B4-BE49-F238E27FC236}">
                <a16:creationId xmlns:a16="http://schemas.microsoft.com/office/drawing/2014/main" id="{737799B0-A6AD-7A3E-11FA-4D4CFEA8549D}"/>
              </a:ext>
            </a:extLst>
          </p:cNvPr>
          <p:cNvSpPr>
            <a:spLocks noGrp="1"/>
          </p:cNvSpPr>
          <p:nvPr>
            <p:ph type="body" orient="vert" idx="13"/>
          </p:nvPr>
        </p:nvSpPr>
        <p:spPr/>
        <p:txBody>
          <a:bodyPr/>
          <a:lstStyle/>
          <a:p>
            <a:r>
              <a:rPr lang="de-DE" sz="1950">
                <a:cs typeface="Arial"/>
              </a:rPr>
              <a:t>Abschlussaufgab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4162114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ooter Placeholder 1">
            <a:extLst>
              <a:ext uri="{FF2B5EF4-FFF2-40B4-BE49-F238E27FC236}">
                <a16:creationId xmlns:a16="http://schemas.microsoft.com/office/drawing/2014/main" id="{E087CB2C-28A8-7C1A-8422-A0174A8145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6401" y="6515213"/>
            <a:ext cx="8813273" cy="216000"/>
          </a:xfrm>
        </p:spPr>
        <p:txBody>
          <a:bodyPr anchor="t">
            <a:normAutofit/>
          </a:bodyPr>
          <a:lstStyle/>
          <a:p>
            <a:pPr>
              <a:spcAft>
                <a:spcPts val="600"/>
              </a:spcAft>
            </a:pPr>
            <a:r>
              <a:rPr lang="de-DE"/>
              <a:t>Oliver Daub Dennis Stehle und Robin Starkl | Pylint Workshop | WIN | WiSe 22/3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075CA8A2-12EE-AC91-4033-41F7A45D7A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883778" y="6515213"/>
            <a:ext cx="1899711" cy="216000"/>
          </a:xfrm>
        </p:spPr>
        <p:txBody>
          <a:bodyPr anchor="t">
            <a:normAutofit/>
          </a:bodyPr>
          <a:lstStyle/>
          <a:p>
            <a:pPr>
              <a:spcAft>
                <a:spcPts val="600"/>
              </a:spcAft>
            </a:pPr>
            <a:r>
              <a:rPr lang="de-DE"/>
              <a:t>|  </a:t>
            </a:r>
            <a:fld id="{E6B5151A-17C4-4431-8407-112C0160A8B6}" type="slidenum">
              <a:rPr lang="de-DE" smtClean="0"/>
              <a:pPr>
                <a:spcAft>
                  <a:spcPts val="600"/>
                </a:spcAft>
              </a:pPr>
              <a:t>2</a:t>
            </a:fld>
            <a:endParaRPr lang="de-DE"/>
          </a:p>
        </p:txBody>
      </p:sp>
      <p:sp>
        <p:nvSpPr>
          <p:cNvPr id="14" name="Title 3">
            <a:extLst>
              <a:ext uri="{FF2B5EF4-FFF2-40B4-BE49-F238E27FC236}">
                <a16:creationId xmlns:a16="http://schemas.microsoft.com/office/drawing/2014/main" id="{BC661EA8-F8D0-7F29-7913-E70C64BC7B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6405" y="898525"/>
            <a:ext cx="11377084" cy="863600"/>
          </a:xfrm>
        </p:spPr>
        <p:txBody>
          <a:bodyPr anchor="t">
            <a:normAutofit/>
          </a:bodyPr>
          <a:lstStyle/>
          <a:p>
            <a:r>
              <a:rPr lang="en-US" err="1"/>
              <a:t>Inhalt</a:t>
            </a:r>
            <a:endParaRPr lang="en-US"/>
          </a:p>
        </p:txBody>
      </p:sp>
      <p:sp>
        <p:nvSpPr>
          <p:cNvPr id="16" name="Content Placeholder 4">
            <a:extLst>
              <a:ext uri="{FF2B5EF4-FFF2-40B4-BE49-F238E27FC236}">
                <a16:creationId xmlns:a16="http://schemas.microsoft.com/office/drawing/2014/main" id="{923DB5A1-5FDC-A0BA-FCB7-CD0E9E8469F7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06405" y="1888118"/>
            <a:ext cx="11377084" cy="4210049"/>
          </a:xfrm>
        </p:spPr>
        <p:txBody>
          <a:bodyPr anchor="t">
            <a:normAutofit/>
          </a:bodyPr>
          <a:lstStyle/>
          <a:p>
            <a:pPr marL="34290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200" err="1"/>
              <a:t>Allgemeines</a:t>
            </a:r>
            <a:r>
              <a:rPr lang="en-US" sz="2200"/>
              <a:t> </a:t>
            </a:r>
            <a:r>
              <a:rPr lang="en-US" sz="2200" err="1"/>
              <a:t>über</a:t>
            </a:r>
            <a:r>
              <a:rPr lang="en-US" sz="2200"/>
              <a:t> </a:t>
            </a:r>
            <a:r>
              <a:rPr lang="en-US" sz="2200" err="1"/>
              <a:t>Pylint</a:t>
            </a:r>
            <a:endParaRPr lang="en-US" sz="2200" err="1">
              <a:cs typeface="Arial"/>
            </a:endParaRPr>
          </a:p>
          <a:p>
            <a:pPr marL="34290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200">
                <a:cs typeface="Arial"/>
              </a:rPr>
              <a:t>Linter</a:t>
            </a:r>
          </a:p>
          <a:p>
            <a:pPr marL="34290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200">
                <a:cs typeface="Arial"/>
              </a:rPr>
              <a:t>PEP 8</a:t>
            </a:r>
          </a:p>
          <a:p>
            <a:pPr marL="34290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200" err="1">
                <a:cs typeface="Arial"/>
              </a:rPr>
              <a:t>Wofür</a:t>
            </a:r>
            <a:r>
              <a:rPr lang="en-US" sz="2200">
                <a:cs typeface="Arial"/>
              </a:rPr>
              <a:t> </a:t>
            </a:r>
            <a:r>
              <a:rPr lang="en-US" sz="2200" err="1">
                <a:cs typeface="Arial"/>
              </a:rPr>
              <a:t>wird</a:t>
            </a:r>
            <a:r>
              <a:rPr lang="en-US" sz="2200">
                <a:cs typeface="Arial"/>
              </a:rPr>
              <a:t> </a:t>
            </a:r>
            <a:r>
              <a:rPr lang="en-US" sz="2200" err="1">
                <a:cs typeface="Arial"/>
              </a:rPr>
              <a:t>Pylint</a:t>
            </a:r>
            <a:r>
              <a:rPr lang="en-US" sz="2200">
                <a:cs typeface="Arial"/>
              </a:rPr>
              <a:t> </a:t>
            </a:r>
            <a:r>
              <a:rPr lang="en-US" sz="2200" err="1">
                <a:cs typeface="Arial"/>
              </a:rPr>
              <a:t>benötigt</a:t>
            </a:r>
            <a:endParaRPr lang="en-US" sz="2200">
              <a:cs typeface="Arial"/>
            </a:endParaRPr>
          </a:p>
          <a:p>
            <a:pPr marL="34290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200"/>
              <a:t>Praxis Teil</a:t>
            </a:r>
          </a:p>
          <a:p>
            <a:pPr marL="34290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200" err="1"/>
              <a:t>Vor</a:t>
            </a:r>
            <a:r>
              <a:rPr lang="en-US" sz="2200"/>
              <a:t>- und </a:t>
            </a:r>
            <a:r>
              <a:rPr lang="en-US" sz="2200" err="1"/>
              <a:t>Nachteile</a:t>
            </a:r>
            <a:r>
              <a:rPr lang="en-US" sz="2200"/>
              <a:t> </a:t>
            </a:r>
            <a:endParaRPr lang="en-US" sz="2200">
              <a:cs typeface="Arial"/>
            </a:endParaRPr>
          </a:p>
          <a:p>
            <a:pPr marL="34290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200" err="1"/>
              <a:t>Alternativen</a:t>
            </a:r>
            <a:r>
              <a:rPr lang="en-US" sz="2200"/>
              <a:t>/ </a:t>
            </a:r>
            <a:r>
              <a:rPr lang="en-US" sz="2200" err="1"/>
              <a:t>Konkurenz</a:t>
            </a:r>
            <a:endParaRPr lang="en-US" sz="2200"/>
          </a:p>
        </p:txBody>
      </p:sp>
    </p:spTree>
    <p:extLst>
      <p:ext uri="{BB962C8B-B14F-4D97-AF65-F5344CB8AC3E}">
        <p14:creationId xmlns:p14="http://schemas.microsoft.com/office/powerpoint/2010/main" val="259327718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B4A332A-0438-519F-4F62-2071DDB4FD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6401" y="6515213"/>
            <a:ext cx="8813273" cy="216000"/>
          </a:xfrm>
        </p:spPr>
        <p:txBody>
          <a:bodyPr anchor="t">
            <a:normAutofit/>
          </a:bodyPr>
          <a:lstStyle/>
          <a:p>
            <a:pPr>
              <a:spcAft>
                <a:spcPts val="600"/>
              </a:spcAft>
            </a:pPr>
            <a:r>
              <a:rPr lang="de-DE"/>
              <a:t>Oliver Daub Dennis Stehle und Robin Starkl | Pylint Workshop | WIN | WiSe 22/3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272DBFBF-0C3A-F61B-A357-C50BD6C527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883778" y="6515213"/>
            <a:ext cx="1899711" cy="216000"/>
          </a:xfrm>
        </p:spPr>
        <p:txBody>
          <a:bodyPr anchor="t">
            <a:normAutofit/>
          </a:bodyPr>
          <a:lstStyle/>
          <a:p>
            <a:pPr>
              <a:spcAft>
                <a:spcPts val="600"/>
              </a:spcAft>
            </a:pPr>
            <a:r>
              <a:rPr lang="de-DE"/>
              <a:t>|  </a:t>
            </a:r>
            <a:fld id="{E6B5151A-17C4-4431-8407-112C0160A8B6}" type="slidenum">
              <a:rPr lang="de-DE" smtClean="0"/>
              <a:pPr>
                <a:spcAft>
                  <a:spcPts val="600"/>
                </a:spcAft>
              </a:pPr>
              <a:t>20</a:t>
            </a:fld>
            <a:endParaRPr lang="de-DE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56FD4F9C-7EA2-B949-8EE8-8112F3A860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6405" y="898525"/>
            <a:ext cx="11377084" cy="863600"/>
          </a:xfrm>
        </p:spPr>
        <p:txBody>
          <a:bodyPr anchor="t">
            <a:normAutofit/>
          </a:bodyPr>
          <a:lstStyle/>
          <a:p>
            <a:r>
              <a:rPr lang="de-DE"/>
              <a:t>Abschlussaufgabe</a:t>
            </a:r>
            <a:endParaRPr lang="de-DE">
              <a:cs typeface="Arial"/>
            </a:endParaRPr>
          </a:p>
        </p:txBody>
      </p:sp>
      <p:sp>
        <p:nvSpPr>
          <p:cNvPr id="12" name="Content Placeholder 4">
            <a:extLst>
              <a:ext uri="{FF2B5EF4-FFF2-40B4-BE49-F238E27FC236}">
                <a16:creationId xmlns:a16="http://schemas.microsoft.com/office/drawing/2014/main" id="{7180B4F0-FEAF-C77A-2B5D-2094473840C6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06405" y="2033591"/>
            <a:ext cx="11377084" cy="4210049"/>
          </a:xfrm>
        </p:spPr>
        <p:txBody>
          <a:bodyPr/>
          <a:lstStyle/>
          <a:p>
            <a:pPr>
              <a:spcAft>
                <a:spcPts val="1998"/>
              </a:spcAft>
            </a:pPr>
            <a:r>
              <a:rPr lang="en-US" sz="2200" err="1">
                <a:cs typeface="Arial"/>
              </a:rPr>
              <a:t>Sorgt</a:t>
            </a:r>
            <a:r>
              <a:rPr lang="en-US" sz="2200">
                <a:cs typeface="Arial"/>
              </a:rPr>
              <a:t> </a:t>
            </a:r>
            <a:r>
              <a:rPr lang="en-US" sz="2200" err="1">
                <a:cs typeface="Arial"/>
              </a:rPr>
              <a:t>bei</a:t>
            </a:r>
            <a:r>
              <a:rPr lang="en-US" sz="2200">
                <a:cs typeface="Arial"/>
              </a:rPr>
              <a:t> der </a:t>
            </a:r>
            <a:r>
              <a:rPr lang="en-US" sz="2200" err="1">
                <a:cs typeface="Arial"/>
              </a:rPr>
              <a:t>Datei</a:t>
            </a:r>
            <a:r>
              <a:rPr lang="en-US" sz="2200">
                <a:cs typeface="Arial"/>
              </a:rPr>
              <a:t> "taschenrchner.py" für </a:t>
            </a:r>
            <a:r>
              <a:rPr lang="en-US" sz="2200" err="1">
                <a:cs typeface="Arial"/>
              </a:rPr>
              <a:t>einen</a:t>
            </a:r>
            <a:r>
              <a:rPr lang="en-US" sz="2200">
                <a:cs typeface="Arial"/>
              </a:rPr>
              <a:t> Score von 10/10.</a:t>
            </a:r>
          </a:p>
          <a:p>
            <a:pPr>
              <a:spcAft>
                <a:spcPts val="1998"/>
              </a:spcAft>
            </a:pPr>
            <a:endParaRPr lang="en-US" sz="2200">
              <a:cs typeface="Arial"/>
            </a:endParaRPr>
          </a:p>
          <a:p>
            <a:pPr>
              <a:spcAft>
                <a:spcPts val="1998"/>
              </a:spcAft>
            </a:pPr>
            <a:r>
              <a:rPr lang="en-US" sz="2200">
                <a:cs typeface="Arial"/>
              </a:rPr>
              <a:t>Die </a:t>
            </a:r>
            <a:r>
              <a:rPr lang="en-US" sz="2200" err="1">
                <a:cs typeface="Arial"/>
              </a:rPr>
              <a:t>Konstanten</a:t>
            </a:r>
            <a:r>
              <a:rPr lang="en-US" sz="2200">
                <a:cs typeface="Arial"/>
              </a:rPr>
              <a:t> </a:t>
            </a:r>
            <a:r>
              <a:rPr lang="en-US" sz="2200" err="1">
                <a:cs typeface="Arial"/>
              </a:rPr>
              <a:t>sind</a:t>
            </a:r>
            <a:r>
              <a:rPr lang="en-US" sz="2200">
                <a:cs typeface="Arial"/>
              </a:rPr>
              <a:t> </a:t>
            </a:r>
            <a:r>
              <a:rPr lang="en-US" sz="2200" err="1">
                <a:cs typeface="Arial"/>
              </a:rPr>
              <a:t>gewollt</a:t>
            </a:r>
            <a:r>
              <a:rPr lang="en-US" sz="2200">
                <a:cs typeface="Arial"/>
              </a:rPr>
              <a:t> </a:t>
            </a:r>
            <a:r>
              <a:rPr lang="en-US" sz="2200" err="1">
                <a:cs typeface="Arial"/>
              </a:rPr>
              <a:t>nach</a:t>
            </a:r>
            <a:r>
              <a:rPr lang="en-US" sz="2200">
                <a:cs typeface="Arial"/>
              </a:rPr>
              <a:t> dem </a:t>
            </a:r>
            <a:r>
              <a:rPr lang="en-US" sz="2200" err="1">
                <a:cs typeface="Arial"/>
              </a:rPr>
              <a:t>snake_case</a:t>
            </a:r>
            <a:r>
              <a:rPr lang="en-US" sz="2200">
                <a:cs typeface="Arial"/>
              </a:rPr>
              <a:t> naming style </a:t>
            </a:r>
            <a:r>
              <a:rPr lang="en-US" sz="2200" err="1">
                <a:cs typeface="Arial"/>
              </a:rPr>
              <a:t>benannt</a:t>
            </a:r>
            <a:r>
              <a:rPr lang="en-US" sz="2200">
                <a:cs typeface="Arial"/>
              </a:rPr>
              <a:t> </a:t>
            </a:r>
            <a:r>
              <a:rPr lang="en-US" sz="2200" err="1">
                <a:cs typeface="Arial"/>
              </a:rPr>
              <a:t>worden</a:t>
            </a:r>
            <a:r>
              <a:rPr lang="en-US" sz="2200">
                <a:cs typeface="Arial"/>
              </a:rPr>
              <a:t>.</a:t>
            </a:r>
          </a:p>
          <a:p>
            <a:pPr>
              <a:spcAft>
                <a:spcPts val="1998"/>
              </a:spcAft>
            </a:pPr>
            <a:r>
              <a:rPr lang="en-US" sz="2200">
                <a:cs typeface="Arial"/>
              </a:rPr>
              <a:t>In der Standard </a:t>
            </a:r>
            <a:r>
              <a:rPr lang="en-US" sz="2200" err="1">
                <a:cs typeface="Arial"/>
              </a:rPr>
              <a:t>Konfiguration</a:t>
            </a:r>
            <a:r>
              <a:rPr lang="en-US" sz="2200">
                <a:cs typeface="Arial"/>
              </a:rPr>
              <a:t> </a:t>
            </a:r>
            <a:r>
              <a:rPr lang="en-US" sz="2200" err="1">
                <a:cs typeface="Arial"/>
              </a:rPr>
              <a:t>wird</a:t>
            </a:r>
            <a:r>
              <a:rPr lang="en-US" sz="2200">
                <a:cs typeface="Arial"/>
              </a:rPr>
              <a:t> </a:t>
            </a:r>
            <a:r>
              <a:rPr lang="en-US" sz="2200" err="1">
                <a:cs typeface="Arial"/>
              </a:rPr>
              <a:t>jedoch</a:t>
            </a:r>
            <a:r>
              <a:rPr lang="en-US" sz="2200">
                <a:cs typeface="Arial"/>
              </a:rPr>
              <a:t> "UPPER_CASE" </a:t>
            </a:r>
            <a:r>
              <a:rPr lang="en-US" sz="2200" err="1">
                <a:cs typeface="Arial"/>
              </a:rPr>
              <a:t>als</a:t>
            </a:r>
            <a:r>
              <a:rPr lang="en-US" sz="2200">
                <a:cs typeface="Arial"/>
              </a:rPr>
              <a:t> naming </a:t>
            </a:r>
            <a:r>
              <a:rPr lang="en-US" sz="2200" err="1">
                <a:cs typeface="Arial"/>
              </a:rPr>
              <a:t>sytle</a:t>
            </a:r>
            <a:r>
              <a:rPr lang="en-US" sz="2200">
                <a:cs typeface="Arial"/>
              </a:rPr>
              <a:t> </a:t>
            </a:r>
            <a:r>
              <a:rPr lang="en-US" sz="2200" err="1">
                <a:cs typeface="Arial"/>
              </a:rPr>
              <a:t>bei</a:t>
            </a:r>
            <a:r>
              <a:rPr lang="en-US" sz="2200">
                <a:cs typeface="Arial"/>
              </a:rPr>
              <a:t> </a:t>
            </a:r>
            <a:r>
              <a:rPr lang="en-US" sz="2200" err="1">
                <a:cs typeface="Arial"/>
              </a:rPr>
              <a:t>Kostanten</a:t>
            </a:r>
            <a:r>
              <a:rPr lang="en-US" sz="2200">
                <a:cs typeface="Arial"/>
              </a:rPr>
              <a:t> </a:t>
            </a:r>
            <a:r>
              <a:rPr lang="en-US" sz="2200" err="1">
                <a:cs typeface="Arial"/>
              </a:rPr>
              <a:t>geprüft</a:t>
            </a:r>
            <a:r>
              <a:rPr lang="en-US" sz="2200">
                <a:cs typeface="Arial"/>
              </a:rPr>
              <a:t>.</a:t>
            </a:r>
            <a:br>
              <a:rPr lang="en-US" sz="2200">
                <a:cs typeface="Arial"/>
              </a:rPr>
            </a:br>
            <a:r>
              <a:rPr lang="en-US" sz="2200" err="1">
                <a:cs typeface="Arial"/>
              </a:rPr>
              <a:t>Setze</a:t>
            </a:r>
            <a:r>
              <a:rPr lang="en-US" sz="2200">
                <a:cs typeface="Arial"/>
              </a:rPr>
              <a:t> in der Config-</a:t>
            </a:r>
            <a:r>
              <a:rPr lang="en-US" sz="2200" err="1">
                <a:cs typeface="Arial"/>
              </a:rPr>
              <a:t>Datei</a:t>
            </a:r>
            <a:r>
              <a:rPr lang="en-US" sz="2200">
                <a:cs typeface="Arial"/>
              </a:rPr>
              <a:t> den "--const-naming-style=&lt;naming-style&gt;" - Checker um die </a:t>
            </a:r>
            <a:r>
              <a:rPr lang="en-US" sz="2200" err="1">
                <a:cs typeface="Arial"/>
              </a:rPr>
              <a:t>Prüfung</a:t>
            </a:r>
            <a:r>
              <a:rPr lang="en-US" sz="2200">
                <a:cs typeface="Arial"/>
              </a:rPr>
              <a:t> des naming style </a:t>
            </a:r>
            <a:r>
              <a:rPr lang="en-US" sz="2200" err="1">
                <a:cs typeface="Arial"/>
              </a:rPr>
              <a:t>zu</a:t>
            </a:r>
            <a:r>
              <a:rPr lang="en-US" sz="2200">
                <a:cs typeface="Arial"/>
              </a:rPr>
              <a:t> </a:t>
            </a:r>
            <a:r>
              <a:rPr lang="en-US" sz="2200" err="1">
                <a:cs typeface="Arial"/>
              </a:rPr>
              <a:t>ändern</a:t>
            </a:r>
            <a:r>
              <a:rPr lang="en-US" sz="2200">
                <a:cs typeface="Arial"/>
              </a:rPr>
              <a:t>.</a:t>
            </a:r>
          </a:p>
          <a:p>
            <a:pPr marL="457200" indent="-457200">
              <a:spcAft>
                <a:spcPts val="1998"/>
              </a:spcAft>
              <a:buAutoNum type="arabicPeriod"/>
            </a:pPr>
            <a:endParaRPr lang="en-US" sz="2200">
              <a:cs typeface="Arial"/>
            </a:endParaRPr>
          </a:p>
          <a:p>
            <a:pPr marL="457200" indent="-457200">
              <a:spcAft>
                <a:spcPts val="1998"/>
              </a:spcAft>
              <a:buAutoNum type="arabicPeriod"/>
            </a:pPr>
            <a:endParaRPr lang="en-US" sz="2200">
              <a:cs typeface="Arial"/>
            </a:endParaRPr>
          </a:p>
          <a:p>
            <a:pPr>
              <a:spcAft>
                <a:spcPts val="1998"/>
              </a:spcAft>
            </a:pPr>
            <a:endParaRPr lang="en-US" sz="2200">
              <a:cs typeface="Arial"/>
            </a:endParaRPr>
          </a:p>
          <a:p>
            <a:pPr marL="457200" indent="-457200">
              <a:spcAft>
                <a:spcPts val="1998"/>
              </a:spcAft>
              <a:buAutoNum type="arabicPeriod"/>
            </a:pPr>
            <a:endParaRPr lang="en-US" sz="2200">
              <a:cs typeface="Arial"/>
            </a:endParaRPr>
          </a:p>
          <a:p>
            <a:pPr marL="457200" indent="-457200">
              <a:spcAft>
                <a:spcPts val="1998"/>
              </a:spcAft>
              <a:buAutoNum type="arabicPeriod"/>
            </a:pPr>
            <a:endParaRPr lang="en-US" sz="2200"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94625905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3225B62-BBBE-C83D-5314-491307F8268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6401" y="6515213"/>
            <a:ext cx="8813273" cy="216000"/>
          </a:xfrm>
        </p:spPr>
        <p:txBody>
          <a:bodyPr anchor="t">
            <a:normAutofit/>
          </a:bodyPr>
          <a:lstStyle/>
          <a:p>
            <a:pPr>
              <a:spcAft>
                <a:spcPts val="600"/>
              </a:spcAft>
            </a:pPr>
            <a:r>
              <a:rPr lang="de-DE"/>
              <a:t>Oliver Daub Dennis Stehle und Robin Starkl | Pylint Workshop | WIN | WiSe 22/3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4F5505F-7D19-B1BC-AB2F-E3036ABFA1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883778" y="6515213"/>
            <a:ext cx="1899711" cy="216000"/>
          </a:xfrm>
        </p:spPr>
        <p:txBody>
          <a:bodyPr anchor="t">
            <a:normAutofit/>
          </a:bodyPr>
          <a:lstStyle/>
          <a:p>
            <a:pPr>
              <a:spcAft>
                <a:spcPts val="600"/>
              </a:spcAft>
            </a:pPr>
            <a:r>
              <a:rPr lang="de-DE"/>
              <a:t>|  </a:t>
            </a:r>
            <a:fld id="{E6B5151A-17C4-4431-8407-112C0160A8B6}" type="slidenum">
              <a:rPr lang="de-DE" smtClean="0"/>
              <a:pPr>
                <a:spcAft>
                  <a:spcPts val="600"/>
                </a:spcAft>
              </a:pPr>
              <a:t>21</a:t>
            </a:fld>
            <a:endParaRPr lang="de-DE"/>
          </a:p>
        </p:txBody>
      </p:sp>
      <p:sp>
        <p:nvSpPr>
          <p:cNvPr id="10" name="Title 3">
            <a:extLst>
              <a:ext uri="{FF2B5EF4-FFF2-40B4-BE49-F238E27FC236}">
                <a16:creationId xmlns:a16="http://schemas.microsoft.com/office/drawing/2014/main" id="{2B27A316-DE6E-3D02-30F6-837EA941D3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6405" y="898525"/>
            <a:ext cx="11377084" cy="863600"/>
          </a:xfrm>
        </p:spPr>
        <p:txBody>
          <a:bodyPr/>
          <a:lstStyle/>
          <a:p>
            <a:r>
              <a:rPr lang="en-US" err="1"/>
              <a:t>Vorteile</a:t>
            </a:r>
            <a:endParaRPr lang="en-US"/>
          </a:p>
        </p:txBody>
      </p:sp>
      <p:sp>
        <p:nvSpPr>
          <p:cNvPr id="12" name="Content Placeholder 4">
            <a:extLst>
              <a:ext uri="{FF2B5EF4-FFF2-40B4-BE49-F238E27FC236}">
                <a16:creationId xmlns:a16="http://schemas.microsoft.com/office/drawing/2014/main" id="{F2E36387-6482-528F-3D22-BC9934499991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06405" y="2033591"/>
            <a:ext cx="11377084" cy="4210049"/>
          </a:xfrm>
        </p:spPr>
        <p:txBody>
          <a:bodyPr/>
          <a:lstStyle/>
          <a:p>
            <a:pPr marL="342900" indent="-342900">
              <a:spcAft>
                <a:spcPts val="1998"/>
              </a:spcAft>
              <a:buChar char="•"/>
            </a:pPr>
            <a:r>
              <a:rPr lang="de-DE" sz="2200">
                <a:ea typeface="+mn-lt"/>
                <a:cs typeface="+mn-lt"/>
              </a:rPr>
              <a:t>Mit </a:t>
            </a:r>
            <a:r>
              <a:rPr lang="de-DE" sz="2200" err="1">
                <a:ea typeface="+mn-lt"/>
                <a:cs typeface="+mn-lt"/>
              </a:rPr>
              <a:t>Pylint</a:t>
            </a:r>
            <a:r>
              <a:rPr lang="de-DE" sz="2200">
                <a:ea typeface="+mn-lt"/>
                <a:cs typeface="+mn-lt"/>
              </a:rPr>
              <a:t> können ohne Probleme aktuelle Quelltexte geprüft werden</a:t>
            </a:r>
          </a:p>
          <a:p>
            <a:pPr marL="342900" indent="-342900">
              <a:spcAft>
                <a:spcPts val="1998"/>
              </a:spcAft>
              <a:buChar char="•"/>
            </a:pPr>
            <a:r>
              <a:rPr lang="de-DE" sz="2200">
                <a:ea typeface="+mn-lt"/>
                <a:cs typeface="+mn-lt"/>
              </a:rPr>
              <a:t>Das Werkzeug wird heute noch weiterentwickelt und gepflegt</a:t>
            </a:r>
          </a:p>
          <a:p>
            <a:pPr marL="342900" indent="-342900">
              <a:spcAft>
                <a:spcPts val="1998"/>
              </a:spcAft>
              <a:buChar char="•"/>
            </a:pPr>
            <a:r>
              <a:rPr lang="de-DE" sz="2200" err="1">
                <a:ea typeface="+mn-lt"/>
                <a:cs typeface="+mn-lt"/>
              </a:rPr>
              <a:t>Pylint</a:t>
            </a:r>
            <a:r>
              <a:rPr lang="de-DE" sz="2200">
                <a:ea typeface="+mn-lt"/>
                <a:cs typeface="+mn-lt"/>
              </a:rPr>
              <a:t> kann einen Codierungsstil durchsetzen, was dazu beitragen kann, dass der Code leichter zu lesen und zu warten ist.</a:t>
            </a:r>
          </a:p>
          <a:p>
            <a:pPr marL="342900" indent="-342900">
              <a:spcAft>
                <a:spcPts val="1998"/>
              </a:spcAft>
              <a:buChar char="•"/>
            </a:pPr>
            <a:r>
              <a:rPr lang="de-DE" sz="2200" err="1">
                <a:ea typeface="+mn-lt"/>
                <a:cs typeface="+mn-lt"/>
              </a:rPr>
              <a:t>Pylint</a:t>
            </a:r>
            <a:r>
              <a:rPr lang="de-DE" sz="2200">
                <a:ea typeface="+mn-lt"/>
                <a:cs typeface="+mn-lt"/>
              </a:rPr>
              <a:t> bietet über eine Konfigurationsdatei die Möglichkeit, die Analyse einzuschränken und auf seine Bedürfnisse anzupassen. </a:t>
            </a:r>
            <a:endParaRPr lang="de-DE" sz="2200"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50709436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ADE1F5FC-A6A8-5DC4-9210-7F6BED6F730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Oliver Daub Dennis Stehle und Robin Starkl | Pylint Workshop | WIN | WiSe 22/3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60B8A01A-1980-BFBC-9EBD-341DC4C9F6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/>
              <a:t>|  </a:t>
            </a:r>
            <a:fld id="{E6B5151A-17C4-4431-8407-112C0160A8B6}" type="slidenum">
              <a:rPr lang="de-DE" smtClean="0"/>
              <a:pPr/>
              <a:t>22</a:t>
            </a:fld>
            <a:endParaRPr lang="de-DE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077E39C4-9814-E1CD-D0D9-49D8CF1939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Nachteile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0D335723-D157-88DE-C978-71172410287B}"/>
              </a:ext>
            </a:extLst>
          </p:cNvPr>
          <p:cNvSpPr>
            <a:spLocks noGrp="1"/>
          </p:cNvSpPr>
          <p:nvPr>
            <p:ph idx="13"/>
          </p:nvPr>
        </p:nvSpPr>
        <p:spPr/>
        <p:txBody>
          <a:bodyPr/>
          <a:lstStyle/>
          <a:p>
            <a:pPr marL="342900" indent="-342900">
              <a:buChar char="•"/>
            </a:pPr>
            <a:r>
              <a:rPr lang="de-DE" sz="2200">
                <a:cs typeface="Arial"/>
              </a:rPr>
              <a:t>Bei </a:t>
            </a:r>
            <a:r>
              <a:rPr lang="de-DE" sz="2200">
                <a:ea typeface="+mn-lt"/>
                <a:cs typeface="+mn-lt"/>
              </a:rPr>
              <a:t>Standard </a:t>
            </a:r>
            <a:r>
              <a:rPr lang="de-DE" sz="2200">
                <a:cs typeface="Arial"/>
              </a:rPr>
              <a:t>Konfiguration kann eine falsch Positive Fehlermeldung kommen</a:t>
            </a:r>
          </a:p>
          <a:p>
            <a:pPr marL="342900" indent="-342900">
              <a:spcAft>
                <a:spcPts val="1998"/>
              </a:spcAft>
              <a:buChar char="•"/>
            </a:pPr>
            <a:r>
              <a:rPr lang="de-DE" sz="2200" err="1">
                <a:ea typeface="+mn-lt"/>
                <a:cs typeface="+mn-lt"/>
              </a:rPr>
              <a:t>Pylint</a:t>
            </a:r>
            <a:r>
              <a:rPr lang="de-DE" sz="2200">
                <a:ea typeface="+mn-lt"/>
                <a:cs typeface="+mn-lt"/>
              </a:rPr>
              <a:t> kann langsam sein, insbesondere bei vielen Zeilen Code</a:t>
            </a:r>
            <a:endParaRPr lang="de-DE">
              <a:ea typeface="+mn-lt"/>
              <a:cs typeface="+mn-lt"/>
            </a:endParaRPr>
          </a:p>
          <a:p>
            <a:pPr marL="342900" indent="-342900">
              <a:spcAft>
                <a:spcPts val="1998"/>
              </a:spcAft>
              <a:buChar char="•"/>
            </a:pPr>
            <a:r>
              <a:rPr lang="de-DE" sz="2200" err="1">
                <a:ea typeface="+mn-lt"/>
                <a:cs typeface="+mn-lt"/>
              </a:rPr>
              <a:t>Pylint</a:t>
            </a:r>
            <a:r>
              <a:rPr lang="de-DE" sz="2200">
                <a:ea typeface="+mn-lt"/>
                <a:cs typeface="+mn-lt"/>
              </a:rPr>
              <a:t> findet nicht alle Arten von Fehlern</a:t>
            </a:r>
            <a:endParaRPr lang="de-DE">
              <a:solidFill>
                <a:srgbClr val="000000"/>
              </a:solidFill>
              <a:ea typeface="+mn-lt"/>
              <a:cs typeface="+mn-lt"/>
            </a:endParaRPr>
          </a:p>
          <a:p>
            <a:pPr marL="342900" indent="-342900">
              <a:spcAft>
                <a:spcPts val="1998"/>
              </a:spcAft>
              <a:buFont typeface="Arial" panose="020B0604020202020204" pitchFamily="34" charset="0"/>
              <a:buChar char="•"/>
            </a:pPr>
            <a:r>
              <a:rPr lang="de-DE" sz="2200">
                <a:solidFill>
                  <a:srgbClr val="000000"/>
                </a:solidFill>
                <a:ea typeface="+mn-lt"/>
                <a:cs typeface="+mn-lt"/>
              </a:rPr>
              <a:t>So können Syntaxfehler oder Logikfehler nicht gefunden werden </a:t>
            </a:r>
          </a:p>
          <a:p>
            <a:pPr marL="342900" indent="-342900">
              <a:spcAft>
                <a:spcPts val="1998"/>
              </a:spcAft>
              <a:buFont typeface="Arial" panose="020B0604020202020204" pitchFamily="34" charset="0"/>
              <a:buChar char="•"/>
            </a:pPr>
            <a:r>
              <a:rPr lang="de-DE" sz="2200">
                <a:solidFill>
                  <a:srgbClr val="000000"/>
                </a:solidFill>
                <a:ea typeface="+mn-lt"/>
                <a:cs typeface="+mn-lt"/>
              </a:rPr>
              <a:t>Der Code wird nicht ausgeführt, um Laufzeitfehler zu überprüfen</a:t>
            </a:r>
          </a:p>
          <a:p>
            <a:pPr marL="287655" lvl="1" indent="-287655">
              <a:spcAft>
                <a:spcPts val="1998"/>
              </a:spcAft>
              <a:buFont typeface="Arial" panose="020B0604020202020204" pitchFamily="34" charset="0"/>
              <a:buChar char="•"/>
            </a:pPr>
            <a:endParaRPr lang="de-DE" sz="2200"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08811832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BA749237-F36A-B6CB-E8DA-5B3680B62D0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Oliver Daub Dennis Stehle und Robin Starkl | Pylint Workshop | WIN | WiSe 22/3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4EEB26CF-E94C-7A09-DA61-EA732EF44E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/>
              <a:t>|  </a:t>
            </a:r>
            <a:fld id="{E6B5151A-17C4-4431-8407-112C0160A8B6}" type="slidenum">
              <a:rPr lang="de-DE" smtClean="0"/>
              <a:pPr/>
              <a:t>23</a:t>
            </a:fld>
            <a:endParaRPr lang="de-DE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C87A4D62-61DB-3429-C695-243089BAD3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Vergleich mit anderen </a:t>
            </a:r>
            <a:r>
              <a:rPr lang="de-DE" err="1"/>
              <a:t>tools</a:t>
            </a:r>
            <a:r>
              <a:rPr lang="de-DE"/>
              <a:t>:</a:t>
            </a:r>
            <a:br>
              <a:rPr lang="en-US"/>
            </a:br>
            <a:r>
              <a:rPr lang="de-DE" err="1">
                <a:cs typeface="Arial"/>
              </a:rPr>
              <a:t>Pyflakes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A1D4EC05-8BE5-F806-2E0D-CCAF73B53BB6}"/>
              </a:ext>
            </a:extLst>
          </p:cNvPr>
          <p:cNvSpPr>
            <a:spLocks noGrp="1"/>
          </p:cNvSpPr>
          <p:nvPr>
            <p:ph idx="13"/>
          </p:nvPr>
        </p:nvSpPr>
        <p:spPr/>
        <p:txBody>
          <a:bodyPr/>
          <a:lstStyle/>
          <a:p>
            <a:pPr marL="342900" indent="-342900">
              <a:spcAft>
                <a:spcPts val="1998"/>
              </a:spcAft>
              <a:buChar char="•"/>
            </a:pPr>
            <a:r>
              <a:rPr lang="de-DE" sz="2200">
                <a:ea typeface="+mn-lt"/>
                <a:cs typeface="+mn-lt"/>
              </a:rPr>
              <a:t>Pyflakes ist ein Static-Analysis-Werkzeug für Python</a:t>
            </a:r>
            <a:endParaRPr lang="de-DE" sz="2200">
              <a:cs typeface="Arial"/>
            </a:endParaRPr>
          </a:p>
          <a:p>
            <a:pPr marL="342900" indent="-342900">
              <a:spcAft>
                <a:spcPts val="1998"/>
              </a:spcAft>
              <a:buChar char="•"/>
            </a:pPr>
            <a:r>
              <a:rPr lang="de-DE" sz="2200">
                <a:ea typeface="+mn-lt"/>
                <a:cs typeface="+mn-lt"/>
              </a:rPr>
              <a:t>Quellcode auf Syntaxfehler und andere Probleme überprüft</a:t>
            </a:r>
          </a:p>
          <a:p>
            <a:pPr marL="342900" indent="-342900">
              <a:spcAft>
                <a:spcPts val="1998"/>
              </a:spcAft>
              <a:buChar char="•"/>
            </a:pPr>
            <a:r>
              <a:rPr lang="de-DE" sz="2200">
                <a:ea typeface="+mn-lt"/>
                <a:cs typeface="+mn-lt"/>
              </a:rPr>
              <a:t>Es überprüft keine Stilprobleme oder Code-Komplexität</a:t>
            </a:r>
          </a:p>
          <a:p>
            <a:pPr marL="342900" indent="-342900">
              <a:spcAft>
                <a:spcPts val="1998"/>
              </a:spcAft>
              <a:buChar char="•"/>
            </a:pPr>
            <a:r>
              <a:rPr lang="de-DE" sz="2200">
                <a:ea typeface="+mn-lt"/>
                <a:cs typeface="+mn-lt"/>
              </a:rPr>
              <a:t>schnell und einfach zu verwenden</a:t>
            </a:r>
            <a:endParaRPr lang="de-DE"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22804887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7AA955B3-DB13-2623-FD63-1A0A058C727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6401" y="6515213"/>
            <a:ext cx="8813273" cy="216000"/>
          </a:xfrm>
        </p:spPr>
        <p:txBody>
          <a:bodyPr anchor="t">
            <a:normAutofit/>
          </a:bodyPr>
          <a:lstStyle/>
          <a:p>
            <a:pPr>
              <a:spcAft>
                <a:spcPts val="600"/>
              </a:spcAft>
            </a:pPr>
            <a:r>
              <a:rPr lang="de-DE"/>
              <a:t>Oliver Daub Dennis Stehle und Robin Starkl | Pylint Workshop | WIN | WiSe 22/3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ADEAF276-6B84-C382-42E0-FD59E23F764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883778" y="6515213"/>
            <a:ext cx="1899711" cy="216000"/>
          </a:xfrm>
        </p:spPr>
        <p:txBody>
          <a:bodyPr anchor="t">
            <a:normAutofit/>
          </a:bodyPr>
          <a:lstStyle/>
          <a:p>
            <a:pPr>
              <a:spcAft>
                <a:spcPts val="600"/>
              </a:spcAft>
            </a:pPr>
            <a:r>
              <a:rPr lang="de-DE"/>
              <a:t>|  </a:t>
            </a:r>
            <a:fld id="{E6B5151A-17C4-4431-8407-112C0160A8B6}" type="slidenum">
              <a:rPr lang="de-DE" smtClean="0"/>
              <a:pPr>
                <a:spcAft>
                  <a:spcPts val="600"/>
                </a:spcAft>
              </a:pPr>
              <a:t>24</a:t>
            </a:fld>
            <a:endParaRPr lang="de-DE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33477906-6952-37A1-CE2F-ED493FF0EE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6405" y="898525"/>
            <a:ext cx="11377084" cy="863600"/>
          </a:xfrm>
        </p:spPr>
        <p:txBody>
          <a:bodyPr anchor="t">
            <a:normAutofit/>
          </a:bodyPr>
          <a:lstStyle/>
          <a:p>
            <a:r>
              <a:rPr lang="de-DE"/>
              <a:t>Alternative 2: Flake 8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A43FC214-5147-6082-BA25-3BC0798BB69F}"/>
              </a:ext>
            </a:extLst>
          </p:cNvPr>
          <p:cNvSpPr>
            <a:spLocks noGrp="1"/>
          </p:cNvSpPr>
          <p:nvPr>
            <p:ph type="body" orient="vert" idx="13"/>
          </p:nvPr>
        </p:nvSpPr>
        <p:spPr>
          <a:xfrm>
            <a:off x="406400" y="2033702"/>
            <a:ext cx="7128933" cy="4209936"/>
          </a:xfrm>
        </p:spPr>
        <p:txBody>
          <a:bodyPr anchor="t">
            <a:normAutofit/>
          </a:bodyPr>
          <a:lstStyle/>
          <a:p>
            <a:pPr marL="342900" indent="-342900">
              <a:spcAft>
                <a:spcPts val="1998"/>
              </a:spcAft>
              <a:buChar char="•"/>
            </a:pPr>
            <a:r>
              <a:rPr lang="de-DE" sz="2200"/>
              <a:t>Flake 8 ist ein Static-Analysis-Werkzeug</a:t>
            </a:r>
          </a:p>
          <a:p>
            <a:pPr marL="342900" indent="-342900">
              <a:spcAft>
                <a:spcPts val="1998"/>
              </a:spcAft>
              <a:buChar char="•"/>
            </a:pPr>
            <a:r>
              <a:rPr lang="de-DE" sz="2200"/>
              <a:t>Überprüft Quellcode auf Syntaxfehler, Stilprobleme und Code-Komplexität</a:t>
            </a:r>
            <a:endParaRPr lang="de-DE" sz="2200">
              <a:cs typeface="Arial"/>
            </a:endParaRPr>
          </a:p>
          <a:p>
            <a:pPr marL="342900" indent="-342900">
              <a:spcAft>
                <a:spcPts val="1998"/>
              </a:spcAft>
              <a:buChar char="•"/>
            </a:pPr>
            <a:r>
              <a:rPr lang="de-DE" sz="2200"/>
              <a:t>Kombiniert mehrere Werkzeuge, darunter </a:t>
            </a:r>
            <a:r>
              <a:rPr lang="de-DE" sz="2200" err="1"/>
              <a:t>Pyflaskes</a:t>
            </a:r>
            <a:r>
              <a:rPr lang="de-DE" sz="2200"/>
              <a:t>, </a:t>
            </a:r>
            <a:r>
              <a:rPr lang="de-DE" sz="2200" err="1"/>
              <a:t>Pycodestyle</a:t>
            </a:r>
            <a:r>
              <a:rPr lang="de-DE" sz="2200"/>
              <a:t> und McCabe</a:t>
            </a:r>
            <a:endParaRPr lang="de-DE" sz="2200">
              <a:cs typeface="Arial"/>
            </a:endParaRPr>
          </a:p>
        </p:txBody>
      </p:sp>
      <p:pic>
        <p:nvPicPr>
          <p:cNvPr id="6" name="Grafik 6" descr="Ein Bild, das Tisch enthält.&#10;&#10;Beschreibung automatisch generiert.">
            <a:extLst>
              <a:ext uri="{FF2B5EF4-FFF2-40B4-BE49-F238E27FC236}">
                <a16:creationId xmlns:a16="http://schemas.microsoft.com/office/drawing/2014/main" id="{FFF87D30-450A-A6D7-2614-AD2DC016561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78039" y="1898802"/>
            <a:ext cx="3133324" cy="4248344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869450215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F61C6421-B0D0-14A5-96EB-17A8492B21F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6401" y="6515213"/>
            <a:ext cx="8813273" cy="216000"/>
          </a:xfrm>
        </p:spPr>
        <p:txBody>
          <a:bodyPr anchor="t">
            <a:normAutofit/>
          </a:bodyPr>
          <a:lstStyle/>
          <a:p>
            <a:pPr>
              <a:spcAft>
                <a:spcPts val="600"/>
              </a:spcAft>
            </a:pPr>
            <a:r>
              <a:rPr lang="de-DE"/>
              <a:t>Oliver Daub Dennis Stehle und Robin Starkl | Pylint Workshop | WIN | WiSe 22/3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ADDCA4D-7805-BEB9-86B3-EB652B7464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883778" y="6515213"/>
            <a:ext cx="1899711" cy="216000"/>
          </a:xfrm>
        </p:spPr>
        <p:txBody>
          <a:bodyPr anchor="t">
            <a:normAutofit/>
          </a:bodyPr>
          <a:lstStyle/>
          <a:p>
            <a:pPr>
              <a:spcAft>
                <a:spcPts val="600"/>
              </a:spcAft>
            </a:pPr>
            <a:r>
              <a:rPr lang="de-DE"/>
              <a:t>|  </a:t>
            </a:r>
            <a:fld id="{E6B5151A-17C4-4431-8407-112C0160A8B6}" type="slidenum">
              <a:rPr lang="de-DE" smtClean="0"/>
              <a:pPr>
                <a:spcAft>
                  <a:spcPts val="600"/>
                </a:spcAft>
              </a:pPr>
              <a:t>25</a:t>
            </a:fld>
            <a:endParaRPr lang="de-DE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CC1DDFF1-7CB8-799E-32CA-B8F8F8B7C9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6405" y="898525"/>
            <a:ext cx="11377084" cy="863600"/>
          </a:xfrm>
        </p:spPr>
        <p:txBody>
          <a:bodyPr anchor="t">
            <a:normAutofit/>
          </a:bodyPr>
          <a:lstStyle/>
          <a:p>
            <a:r>
              <a:rPr lang="de-DE" err="1"/>
              <a:t>Mentimeter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D9FA0C5E-C060-DF55-1869-7C4DE4CCCB8E}"/>
              </a:ext>
            </a:extLst>
          </p:cNvPr>
          <p:cNvSpPr txBox="1"/>
          <p:nvPr/>
        </p:nvSpPr>
        <p:spPr>
          <a:xfrm>
            <a:off x="406400" y="2033702"/>
            <a:ext cx="7128933" cy="4209936"/>
          </a:xfrm>
          <a:prstGeom prst="rect">
            <a:avLst/>
          </a:prstGeom>
        </p:spPr>
        <p:txBody>
          <a:bodyPr rot="0" spcFirstLastPara="0" vertOverflow="overflow" horzOverflow="overflow" vert="horz" lIns="91440" tIns="45720" rIns="91440" bIns="45720" numCol="1" spcCol="0" rtlCol="0" fromWordArt="0" anchor="t" anchorCtr="0" forceAA="0" compatLnSpc="1">
            <a:prstTxWarp prst="textNoShape">
              <a:avLst/>
            </a:prstTxWarp>
            <a:normAutofit/>
          </a:bodyPr>
          <a:lstStyle/>
          <a:p>
            <a:pPr>
              <a:spcAft>
                <a:spcPts val="600"/>
              </a:spcAft>
            </a:pPr>
            <a:r>
              <a:rPr lang="en-US" sz="2200"/>
              <a:t>The voting code </a:t>
            </a:r>
            <a:r>
              <a:rPr lang="en-US" sz="2200" b="1"/>
              <a:t>7863 9653</a:t>
            </a:r>
            <a:r>
              <a:rPr lang="en-US" sz="2200"/>
              <a:t> </a:t>
            </a:r>
            <a:endParaRPr lang="en-US" sz="2200">
              <a:cs typeface="Arial"/>
            </a:endParaRPr>
          </a:p>
        </p:txBody>
      </p:sp>
      <p:pic>
        <p:nvPicPr>
          <p:cNvPr id="6" name="Grafik 6">
            <a:extLst>
              <a:ext uri="{FF2B5EF4-FFF2-40B4-BE49-F238E27FC236}">
                <a16:creationId xmlns:a16="http://schemas.microsoft.com/office/drawing/2014/main" id="{8F60F019-DA9D-26CA-9ABC-BB958F765DA5}"/>
              </a:ext>
            </a:extLst>
          </p:cNvPr>
          <p:cNvPicPr>
            <a:picLocks noGrp="1" noChangeAspect="1"/>
          </p:cNvPicPr>
          <p:nvPr>
            <p:ph type="pic" idx="15"/>
          </p:nvPr>
        </p:nvPicPr>
        <p:blipFill rotWithShape="1">
          <a:blip r:embed="rId2"/>
          <a:stretch/>
        </p:blipFill>
        <p:spPr>
          <a:xfrm>
            <a:off x="4058016" y="2198986"/>
            <a:ext cx="3862917" cy="3862917"/>
          </a:xfrm>
          <a:noFill/>
        </p:spPr>
      </p:pic>
    </p:spTree>
    <p:extLst>
      <p:ext uri="{BB962C8B-B14F-4D97-AF65-F5344CB8AC3E}">
        <p14:creationId xmlns:p14="http://schemas.microsoft.com/office/powerpoint/2010/main" val="3179415031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442B1C9E-A8CF-4C29-BFBC-2F6F29EBF0F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087996" y="6515213"/>
            <a:ext cx="7131678" cy="216000"/>
          </a:xfrm>
        </p:spPr>
        <p:txBody>
          <a:bodyPr/>
          <a:lstStyle/>
          <a:p>
            <a:r>
              <a:rPr lang="de-DE"/>
              <a:t>Oliver Daub Dennis Stehle und Robin Starkl | Pylint Workshop | WIN | WiSe 22/3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4F1902C5-E2BB-4588-93A7-EE768BAC64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/>
              <a:t>|  </a:t>
            </a:r>
            <a:fld id="{E6B5151A-17C4-4431-8407-112C0160A8B6}" type="slidenum">
              <a:rPr lang="de-DE" smtClean="0"/>
              <a:pPr/>
              <a:t>26</a:t>
            </a:fld>
            <a:endParaRPr lang="de-DE"/>
          </a:p>
        </p:txBody>
      </p:sp>
      <p:sp>
        <p:nvSpPr>
          <p:cNvPr id="4" name="Vertikaler Textplatzhalter 3">
            <a:extLst>
              <a:ext uri="{FF2B5EF4-FFF2-40B4-BE49-F238E27FC236}">
                <a16:creationId xmlns:a16="http://schemas.microsoft.com/office/drawing/2014/main" id="{F0F5D8EB-D37B-4B4F-A5FF-495DBD347739}"/>
              </a:ext>
            </a:extLst>
          </p:cNvPr>
          <p:cNvSpPr>
            <a:spLocks noGrp="1"/>
          </p:cNvSpPr>
          <p:nvPr>
            <p:ph type="body" orient="vert" idx="13"/>
          </p:nvPr>
        </p:nvSpPr>
        <p:spPr/>
        <p:txBody>
          <a:bodyPr anchor="ctr"/>
          <a:lstStyle/>
          <a:p>
            <a:pPr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800"/>
              <a:t>Oliver Daub, odaub</a:t>
            </a:r>
            <a:r>
              <a:rPr lang="de-DE" sz="1800">
                <a:ea typeface="+mn-lt"/>
                <a:cs typeface="+mn-lt"/>
              </a:rPr>
              <a:t>@stud.hs-heilbronn.de</a:t>
            </a:r>
            <a:endParaRPr lang="de-DE" sz="1800"/>
          </a:p>
          <a:p>
            <a:pPr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800"/>
              <a:t>Dennis Stehle , dstehle</a:t>
            </a:r>
            <a:r>
              <a:rPr lang="de-DE" sz="1800">
                <a:ea typeface="+mn-lt"/>
                <a:cs typeface="+mn-lt"/>
              </a:rPr>
              <a:t>@stud.hs-heilbronn.de</a:t>
            </a:r>
          </a:p>
          <a:p>
            <a:pPr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800"/>
              <a:t>Robin </a:t>
            </a:r>
            <a:r>
              <a:rPr lang="de-DE" sz="1800" err="1"/>
              <a:t>Starkl</a:t>
            </a:r>
            <a:r>
              <a:rPr lang="de-DE" sz="1800"/>
              <a:t>, rstarkl@stud.hs-heilbronn.de</a:t>
            </a:r>
            <a:endParaRPr lang="de-DE" sz="1800">
              <a:cs typeface="Arial"/>
            </a:endParaRPr>
          </a:p>
        </p:txBody>
      </p:sp>
      <p:sp>
        <p:nvSpPr>
          <p:cNvPr id="5" name="Vertikaler Textplatzhalter 4">
            <a:extLst>
              <a:ext uri="{FF2B5EF4-FFF2-40B4-BE49-F238E27FC236}">
                <a16:creationId xmlns:a16="http://schemas.microsoft.com/office/drawing/2014/main" id="{D2AA6EF9-22EB-4E18-A8BA-FBB33B618746}"/>
              </a:ext>
            </a:extLst>
          </p:cNvPr>
          <p:cNvSpPr>
            <a:spLocks noGrp="1"/>
          </p:cNvSpPr>
          <p:nvPr>
            <p:ph type="body" orient="vert" idx="14"/>
          </p:nvPr>
        </p:nvSpPr>
        <p:spPr/>
        <p:txBody>
          <a:bodyPr/>
          <a:lstStyle/>
          <a:p>
            <a:r>
              <a:rPr lang="de-DE" sz="4400">
                <a:ea typeface="+mj-lt"/>
                <a:cs typeface="+mj-lt"/>
              </a:rPr>
              <a:t>vielen dank für ihre Aufmerksamkeit</a:t>
            </a:r>
            <a:endParaRPr lang="de-DE" err="1"/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2CA01167-0F5C-ECA7-ED24-240AF01F2123}"/>
              </a:ext>
            </a:extLst>
          </p:cNvPr>
          <p:cNvSpPr>
            <a:spLocks noGrp="1"/>
          </p:cNvSpPr>
          <p:nvPr>
            <p:ph type="pic" idx="15"/>
          </p:nvPr>
        </p:nvSpPr>
        <p:spPr/>
      </p:sp>
      <p:sp>
        <p:nvSpPr>
          <p:cNvPr id="6" name="Datumsplatzhalter 3">
            <a:extLst>
              <a:ext uri="{FF2B5EF4-FFF2-40B4-BE49-F238E27FC236}">
                <a16:creationId xmlns:a16="http://schemas.microsoft.com/office/drawing/2014/main" id="{D4DB62CD-E1FE-EFE4-CB22-4B024E91DA31}"/>
              </a:ext>
            </a:extLst>
          </p:cNvPr>
          <p:cNvSpPr txBox="1">
            <a:spLocks/>
          </p:cNvSpPr>
          <p:nvPr/>
        </p:nvSpPr>
        <p:spPr>
          <a:xfrm>
            <a:off x="406401" y="274365"/>
            <a:ext cx="7375299" cy="21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de-DE"/>
            </a:defPPr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000" b="1" kern="1200" spc="4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algn="l" defTabSz="914400" rtl="0" eaLnBrk="1" latinLnBrk="0" hangingPunct="1">
              <a:lnSpc>
                <a:spcPct val="100000"/>
              </a:lnSpc>
              <a:spcBef>
                <a:spcPts val="0"/>
              </a:spcBef>
              <a:defRPr sz="1000" b="1" kern="1200" spc="4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0" algn="l" defTabSz="914400" rtl="0" eaLnBrk="1" latinLnBrk="0" hangingPunct="1">
              <a:lnSpc>
                <a:spcPct val="100000"/>
              </a:lnSpc>
              <a:spcBef>
                <a:spcPts val="0"/>
              </a:spcBef>
              <a:defRPr sz="1000" b="1" kern="1200" spc="4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0" algn="l" defTabSz="914400" rtl="0" eaLnBrk="1" latinLnBrk="0" hangingPunct="1">
              <a:lnSpc>
                <a:spcPct val="100000"/>
              </a:lnSpc>
              <a:spcBef>
                <a:spcPts val="0"/>
              </a:spcBef>
              <a:defRPr sz="1000" b="1" kern="1200" spc="4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0" algn="l" defTabSz="914400" rtl="0" eaLnBrk="1" latinLnBrk="0" hangingPunct="1">
              <a:lnSpc>
                <a:spcPct val="100000"/>
              </a:lnSpc>
              <a:spcBef>
                <a:spcPts val="0"/>
              </a:spcBef>
              <a:defRPr sz="1000" b="1" kern="1200" spc="4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0" algn="l" defTabSz="914400" rtl="0" eaLnBrk="1" latinLnBrk="0" hangingPunct="1">
              <a:lnSpc>
                <a:spcPct val="100000"/>
              </a:lnSpc>
              <a:spcBef>
                <a:spcPts val="0"/>
              </a:spcBef>
              <a:defRPr sz="1000" b="1" kern="1200" spc="4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6pPr>
            <a:lvl7pPr marL="0" algn="l" defTabSz="914400" rtl="0" eaLnBrk="1" latinLnBrk="0" hangingPunct="1">
              <a:lnSpc>
                <a:spcPct val="100000"/>
              </a:lnSpc>
              <a:spcBef>
                <a:spcPts val="0"/>
              </a:spcBef>
              <a:defRPr sz="1000" b="1" kern="1200" spc="4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0" algn="l" defTabSz="914400" rtl="0" eaLnBrk="1" latinLnBrk="0" hangingPunct="1">
              <a:lnSpc>
                <a:spcPct val="100000"/>
              </a:lnSpc>
              <a:spcBef>
                <a:spcPts val="0"/>
              </a:spcBef>
              <a:defRPr sz="1000" b="1" kern="1200" spc="4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8pPr>
            <a:lvl9pPr marL="0" algn="l" defTabSz="914400" rtl="0" eaLnBrk="1" latinLnBrk="0" hangingPunct="1">
              <a:lnSpc>
                <a:spcPct val="100000"/>
              </a:lnSpc>
              <a:spcBef>
                <a:spcPts val="0"/>
              </a:spcBef>
              <a:defRPr sz="1000" b="1" kern="1200" spc="4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r>
              <a:rPr lang="de-DE"/>
              <a:t>Bildungscampus</a:t>
            </a:r>
          </a:p>
        </p:txBody>
      </p:sp>
    </p:spTree>
    <p:extLst>
      <p:ext uri="{BB962C8B-B14F-4D97-AF65-F5344CB8AC3E}">
        <p14:creationId xmlns:p14="http://schemas.microsoft.com/office/powerpoint/2010/main" val="42852813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67487BD-8265-9F4F-079A-3AA0801CEA9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6401" y="6515213"/>
            <a:ext cx="8813273" cy="216000"/>
          </a:xfrm>
        </p:spPr>
        <p:txBody>
          <a:bodyPr anchor="t">
            <a:normAutofit/>
          </a:bodyPr>
          <a:lstStyle/>
          <a:p>
            <a:pPr>
              <a:spcAft>
                <a:spcPts val="600"/>
              </a:spcAft>
            </a:pPr>
            <a:r>
              <a:rPr lang="de-DE"/>
              <a:t>Oliver Daub Dennis Stehle und Robin Starkl | Pylint Workshop | WIN | WiSe 22/3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255B74D4-CB71-5DD2-3C21-8A2EE98865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883778" y="6515213"/>
            <a:ext cx="1899711" cy="216000"/>
          </a:xfrm>
        </p:spPr>
        <p:txBody>
          <a:bodyPr anchor="t">
            <a:normAutofit/>
          </a:bodyPr>
          <a:lstStyle/>
          <a:p>
            <a:pPr>
              <a:spcAft>
                <a:spcPts val="600"/>
              </a:spcAft>
            </a:pPr>
            <a:r>
              <a:rPr lang="de-DE"/>
              <a:t>|  </a:t>
            </a:r>
            <a:fld id="{E6B5151A-17C4-4431-8407-112C0160A8B6}" type="slidenum">
              <a:rPr lang="de-DE" smtClean="0"/>
              <a:pPr>
                <a:spcAft>
                  <a:spcPts val="600"/>
                </a:spcAft>
              </a:pPr>
              <a:t>3</a:t>
            </a:fld>
            <a:endParaRPr lang="de-DE"/>
          </a:p>
        </p:txBody>
      </p:sp>
      <p:sp>
        <p:nvSpPr>
          <p:cNvPr id="12" name="Title 3">
            <a:extLst>
              <a:ext uri="{FF2B5EF4-FFF2-40B4-BE49-F238E27FC236}">
                <a16:creationId xmlns:a16="http://schemas.microsoft.com/office/drawing/2014/main" id="{40F75D87-F5A6-C32F-A13E-C01DD45914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6405" y="898525"/>
            <a:ext cx="11377084" cy="863600"/>
          </a:xfrm>
        </p:spPr>
        <p:txBody>
          <a:bodyPr/>
          <a:lstStyle/>
          <a:p>
            <a:r>
              <a:rPr lang="en-US" err="1"/>
              <a:t>Allgemeines</a:t>
            </a:r>
            <a:r>
              <a:rPr lang="en-US"/>
              <a:t> </a:t>
            </a:r>
            <a:r>
              <a:rPr lang="en-US" err="1"/>
              <a:t>über</a:t>
            </a:r>
            <a:r>
              <a:rPr lang="en-US"/>
              <a:t> Pylint</a:t>
            </a:r>
          </a:p>
        </p:txBody>
      </p:sp>
      <p:sp>
        <p:nvSpPr>
          <p:cNvPr id="14" name="Content Placeholder 4">
            <a:extLst>
              <a:ext uri="{FF2B5EF4-FFF2-40B4-BE49-F238E27FC236}">
                <a16:creationId xmlns:a16="http://schemas.microsoft.com/office/drawing/2014/main" id="{6CDEF6AD-CCFE-B606-AD4F-C9C0B237209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06405" y="1835669"/>
            <a:ext cx="11377084" cy="4210049"/>
          </a:xfrm>
        </p:spPr>
        <p:txBody>
          <a:bodyPr/>
          <a:lstStyle/>
          <a:p>
            <a:pPr marL="342900" indent="-342900">
              <a:lnSpc>
                <a:spcPct val="100000"/>
              </a:lnSpc>
              <a:spcAft>
                <a:spcPts val="1900"/>
              </a:spcAft>
              <a:buChar char="•"/>
            </a:pPr>
            <a:r>
              <a:rPr lang="en-US" sz="2000">
                <a:cs typeface="Arial"/>
              </a:rPr>
              <a:t>Linter für Python</a:t>
            </a:r>
            <a:endParaRPr lang="de-DE" sz="2000">
              <a:cs typeface="Arial"/>
            </a:endParaRPr>
          </a:p>
          <a:p>
            <a:pPr marL="342900" indent="-342900">
              <a:lnSpc>
                <a:spcPct val="100000"/>
              </a:lnSpc>
              <a:spcAft>
                <a:spcPts val="1900"/>
              </a:spcAft>
              <a:buChar char="•"/>
            </a:pPr>
            <a:r>
              <a:rPr lang="en-US" sz="2000" err="1">
                <a:cs typeface="Arial"/>
              </a:rPr>
              <a:t>Statische</a:t>
            </a:r>
            <a:r>
              <a:rPr lang="en-US" sz="2000">
                <a:cs typeface="Arial"/>
              </a:rPr>
              <a:t> </a:t>
            </a:r>
            <a:r>
              <a:rPr lang="en-US" sz="2000" err="1">
                <a:cs typeface="Arial"/>
              </a:rPr>
              <a:t>Codeanalyse</a:t>
            </a:r>
            <a:endParaRPr lang="en-US" sz="2000">
              <a:cs typeface="Arial"/>
            </a:endParaRPr>
          </a:p>
          <a:p>
            <a:pPr marL="342900" indent="-342900">
              <a:lnSpc>
                <a:spcPct val="100000"/>
              </a:lnSpc>
              <a:spcAft>
                <a:spcPts val="1900"/>
              </a:spcAft>
              <a:buChar char="•"/>
            </a:pPr>
            <a:r>
              <a:rPr lang="en-US" sz="2000" err="1">
                <a:cs typeface="Arial"/>
              </a:rPr>
              <a:t>Prüft</a:t>
            </a:r>
            <a:r>
              <a:rPr lang="en-US" sz="2000">
                <a:cs typeface="Arial"/>
              </a:rPr>
              <a:t> auf </a:t>
            </a:r>
            <a:r>
              <a:rPr lang="en-US" sz="2000" err="1">
                <a:cs typeface="Arial"/>
              </a:rPr>
              <a:t>richtige</a:t>
            </a:r>
            <a:r>
              <a:rPr lang="en-US" sz="2000">
                <a:cs typeface="Arial"/>
              </a:rPr>
              <a:t> </a:t>
            </a:r>
            <a:r>
              <a:rPr lang="en-US" sz="2000" err="1">
                <a:cs typeface="Arial"/>
              </a:rPr>
              <a:t>Formatierung</a:t>
            </a:r>
            <a:endParaRPr lang="en-US" sz="2000">
              <a:cs typeface="Arial"/>
            </a:endParaRPr>
          </a:p>
          <a:p>
            <a:pPr marL="342900" indent="-342900">
              <a:lnSpc>
                <a:spcPct val="100000"/>
              </a:lnSpc>
              <a:spcAft>
                <a:spcPts val="1900"/>
              </a:spcAft>
              <a:buChar char="•"/>
            </a:pPr>
            <a:r>
              <a:rPr lang="en-US" sz="2000" err="1">
                <a:cs typeface="Arial"/>
              </a:rPr>
              <a:t>Beinhaltet</a:t>
            </a:r>
            <a:r>
              <a:rPr lang="en-US" sz="2000">
                <a:cs typeface="Arial"/>
              </a:rPr>
              <a:t> </a:t>
            </a:r>
            <a:r>
              <a:rPr lang="en-US" sz="2000" err="1">
                <a:cs typeface="Arial"/>
              </a:rPr>
              <a:t>Pyverse</a:t>
            </a:r>
            <a:endParaRPr lang="en-US" sz="2000">
              <a:cs typeface="Arial"/>
            </a:endParaRPr>
          </a:p>
          <a:p>
            <a:pPr marL="342900" indent="-342900">
              <a:lnSpc>
                <a:spcPct val="100000"/>
              </a:lnSpc>
              <a:spcAft>
                <a:spcPts val="1900"/>
              </a:spcAft>
              <a:buChar char="•"/>
            </a:pPr>
            <a:r>
              <a:rPr lang="en-US" sz="2000" err="1">
                <a:cs typeface="Arial"/>
              </a:rPr>
              <a:t>Verwendung</a:t>
            </a:r>
            <a:r>
              <a:rPr lang="en-US" sz="2000">
                <a:cs typeface="Arial"/>
              </a:rPr>
              <a:t> </a:t>
            </a:r>
            <a:r>
              <a:rPr lang="en-US" sz="2000" err="1">
                <a:cs typeface="Arial"/>
              </a:rPr>
              <a:t>alleinstehend</a:t>
            </a:r>
            <a:r>
              <a:rPr lang="en-US" sz="2000">
                <a:cs typeface="Arial"/>
              </a:rPr>
              <a:t> </a:t>
            </a:r>
            <a:r>
              <a:rPr lang="en-US" sz="2000" err="1">
                <a:cs typeface="Arial"/>
              </a:rPr>
              <a:t>oder</a:t>
            </a:r>
            <a:r>
              <a:rPr lang="en-US" sz="2000">
                <a:cs typeface="Arial"/>
              </a:rPr>
              <a:t> in IDE Integriert</a:t>
            </a:r>
            <a:br>
              <a:rPr lang="en-US" sz="2000">
                <a:cs typeface="Arial"/>
              </a:rPr>
            </a:br>
            <a:endParaRPr lang="en-US" sz="2000">
              <a:cs typeface="Arial"/>
            </a:endParaRPr>
          </a:p>
          <a:p>
            <a:pPr marL="342900" indent="-342900">
              <a:lnSpc>
                <a:spcPct val="100000"/>
              </a:lnSpc>
              <a:spcAft>
                <a:spcPts val="1900"/>
              </a:spcAft>
              <a:buChar char="•"/>
            </a:pPr>
            <a:r>
              <a:rPr lang="en-US" sz="2000" err="1">
                <a:cs typeface="Arial"/>
              </a:rPr>
              <a:t>Veröffentlichung</a:t>
            </a:r>
            <a:r>
              <a:rPr lang="en-US" sz="2000">
                <a:cs typeface="Arial"/>
              </a:rPr>
              <a:t>: 2001</a:t>
            </a:r>
          </a:p>
          <a:p>
            <a:pPr marL="342900" indent="-342900">
              <a:lnSpc>
                <a:spcPct val="100000"/>
              </a:lnSpc>
              <a:spcAft>
                <a:spcPts val="1900"/>
              </a:spcAft>
              <a:buChar char="•"/>
            </a:pPr>
            <a:r>
              <a:rPr lang="en-US" sz="2000" err="1">
                <a:cs typeface="Arial"/>
              </a:rPr>
              <a:t>Entwickler</a:t>
            </a:r>
            <a:r>
              <a:rPr lang="en-US" sz="2000">
                <a:cs typeface="Arial"/>
              </a:rPr>
              <a:t>: Sylvain </a:t>
            </a:r>
            <a:r>
              <a:rPr lang="en-US" sz="2000" err="1">
                <a:cs typeface="Arial"/>
              </a:rPr>
              <a:t>Thénault</a:t>
            </a:r>
            <a:endParaRPr lang="en-US" sz="2000">
              <a:cs typeface="Arial"/>
            </a:endParaRPr>
          </a:p>
          <a:p>
            <a:pPr marL="342900" indent="-342900">
              <a:lnSpc>
                <a:spcPct val="100000"/>
              </a:lnSpc>
              <a:spcAft>
                <a:spcPts val="1900"/>
              </a:spcAft>
              <a:buChar char="•"/>
            </a:pPr>
            <a:r>
              <a:rPr lang="en-US" sz="2000" err="1">
                <a:cs typeface="Arial"/>
              </a:rPr>
              <a:t>Geschrieben</a:t>
            </a:r>
            <a:r>
              <a:rPr lang="en-US" sz="2000">
                <a:cs typeface="Arial"/>
              </a:rPr>
              <a:t> in Python</a:t>
            </a:r>
          </a:p>
        </p:txBody>
      </p:sp>
    </p:spTree>
    <p:extLst>
      <p:ext uri="{BB962C8B-B14F-4D97-AF65-F5344CB8AC3E}">
        <p14:creationId xmlns:p14="http://schemas.microsoft.com/office/powerpoint/2010/main" val="160857790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77F6C321-2463-33E6-FE80-ECA3697E7D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6401" y="6515213"/>
            <a:ext cx="8813273" cy="216000"/>
          </a:xfrm>
        </p:spPr>
        <p:txBody>
          <a:bodyPr anchor="t">
            <a:normAutofit/>
          </a:bodyPr>
          <a:lstStyle/>
          <a:p>
            <a:pPr>
              <a:spcAft>
                <a:spcPts val="600"/>
              </a:spcAft>
            </a:pPr>
            <a:r>
              <a:rPr lang="de-DE"/>
              <a:t>Oliver Daub Dennis Stehle und Robin Starkl | Pylint Workshop | WIN | WiSe 22/3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CB7519E4-7864-97DE-55ED-8C85905A25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883778" y="6515213"/>
            <a:ext cx="1899711" cy="216000"/>
          </a:xfrm>
        </p:spPr>
        <p:txBody>
          <a:bodyPr anchor="t">
            <a:normAutofit/>
          </a:bodyPr>
          <a:lstStyle/>
          <a:p>
            <a:pPr>
              <a:spcAft>
                <a:spcPts val="600"/>
              </a:spcAft>
            </a:pPr>
            <a:r>
              <a:rPr lang="de-DE"/>
              <a:t>|  </a:t>
            </a:r>
            <a:fld id="{E6B5151A-17C4-4431-8407-112C0160A8B6}" type="slidenum">
              <a:rPr lang="de-DE" smtClean="0"/>
              <a:pPr>
                <a:spcAft>
                  <a:spcPts val="600"/>
                </a:spcAft>
              </a:pPr>
              <a:t>4</a:t>
            </a:fld>
            <a:endParaRPr lang="de-DE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6E1E088C-62F1-223D-A0FF-63E851DC01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6405" y="898525"/>
            <a:ext cx="11377084" cy="863600"/>
          </a:xfrm>
        </p:spPr>
        <p:txBody>
          <a:bodyPr anchor="t">
            <a:normAutofit/>
          </a:bodyPr>
          <a:lstStyle/>
          <a:p>
            <a:r>
              <a:rPr lang="de-DE"/>
              <a:t>Was sind </a:t>
            </a:r>
            <a:r>
              <a:rPr lang="de-DE" err="1"/>
              <a:t>Linter</a:t>
            </a:r>
          </a:p>
        </p:txBody>
      </p:sp>
      <p:sp>
        <p:nvSpPr>
          <p:cNvPr id="12" name="Content Placeholder 4">
            <a:extLst>
              <a:ext uri="{FF2B5EF4-FFF2-40B4-BE49-F238E27FC236}">
                <a16:creationId xmlns:a16="http://schemas.microsoft.com/office/drawing/2014/main" id="{22F9AA8D-D2B1-2764-74BA-9236DDEA40ED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06405" y="2033591"/>
            <a:ext cx="11377084" cy="4210049"/>
          </a:xfrm>
        </p:spPr>
        <p:txBody>
          <a:bodyPr/>
          <a:lstStyle/>
          <a:p>
            <a:pPr marL="342900" indent="-342900">
              <a:buChar char="•"/>
            </a:pPr>
            <a:r>
              <a:rPr lang="en-US" sz="2200">
                <a:cs typeface="Arial"/>
              </a:rPr>
              <a:t>Tools </a:t>
            </a:r>
            <a:r>
              <a:rPr lang="en-US" sz="2200" err="1">
                <a:cs typeface="Arial"/>
              </a:rPr>
              <a:t>zur</a:t>
            </a:r>
            <a:r>
              <a:rPr lang="en-US" sz="2200">
                <a:cs typeface="Arial"/>
              </a:rPr>
              <a:t> </a:t>
            </a:r>
            <a:r>
              <a:rPr lang="en-US" sz="2200" err="1">
                <a:cs typeface="Arial"/>
              </a:rPr>
              <a:t>statischen</a:t>
            </a:r>
            <a:r>
              <a:rPr lang="en-US" sz="2200">
                <a:cs typeface="Arial"/>
              </a:rPr>
              <a:t> Code Analyse</a:t>
            </a:r>
          </a:p>
          <a:p>
            <a:pPr marL="342900" indent="-342900">
              <a:spcAft>
                <a:spcPts val="1998"/>
              </a:spcAft>
              <a:buChar char="•"/>
            </a:pPr>
            <a:endParaRPr lang="en-US" sz="2200">
              <a:cs typeface="Arial"/>
            </a:endParaRPr>
          </a:p>
          <a:p>
            <a:pPr marL="342900" indent="-342900">
              <a:spcAft>
                <a:spcPts val="1998"/>
              </a:spcAft>
              <a:buChar char="•"/>
            </a:pPr>
            <a:r>
              <a:rPr lang="en-US" sz="2200">
                <a:cs typeface="Arial"/>
              </a:rPr>
              <a:t>Zeigen </a:t>
            </a:r>
            <a:r>
              <a:rPr lang="en-US" sz="2200" err="1">
                <a:cs typeface="Arial"/>
              </a:rPr>
              <a:t>Programm</a:t>
            </a:r>
            <a:r>
              <a:rPr lang="en-US" sz="2200">
                <a:cs typeface="Arial"/>
              </a:rPr>
              <a:t>-, </a:t>
            </a:r>
            <a:r>
              <a:rPr lang="en-US" sz="2200" err="1">
                <a:cs typeface="Arial"/>
              </a:rPr>
              <a:t>Formatierungsfehler</a:t>
            </a:r>
            <a:r>
              <a:rPr lang="en-US" sz="2200">
                <a:cs typeface="Arial"/>
              </a:rPr>
              <a:t> und </a:t>
            </a:r>
            <a:r>
              <a:rPr lang="en-US" sz="2200" err="1">
                <a:cs typeface="Arial"/>
              </a:rPr>
              <a:t>verdächtige</a:t>
            </a:r>
            <a:r>
              <a:rPr lang="en-US" sz="2200">
                <a:cs typeface="Arial"/>
              </a:rPr>
              <a:t> </a:t>
            </a:r>
            <a:r>
              <a:rPr lang="en-US" sz="2200" err="1">
                <a:cs typeface="Arial"/>
              </a:rPr>
              <a:t>Strukturen</a:t>
            </a:r>
            <a:r>
              <a:rPr lang="en-US" sz="2200">
                <a:cs typeface="Arial"/>
              </a:rPr>
              <a:t> auf.</a:t>
            </a:r>
          </a:p>
          <a:p>
            <a:pPr marL="342900" indent="-342900">
              <a:spcAft>
                <a:spcPts val="1998"/>
              </a:spcAft>
              <a:buChar char="•"/>
            </a:pPr>
            <a:endParaRPr lang="en-US" sz="2200">
              <a:cs typeface="Arial"/>
            </a:endParaRPr>
          </a:p>
          <a:p>
            <a:pPr marL="342900" indent="-342900">
              <a:spcAft>
                <a:spcPts val="1998"/>
              </a:spcAft>
              <a:buChar char="•"/>
            </a:pPr>
            <a:r>
              <a:rPr lang="en-US" sz="2200" err="1">
                <a:cs typeface="Arial"/>
              </a:rPr>
              <a:t>Kommt</a:t>
            </a:r>
            <a:r>
              <a:rPr lang="en-US" sz="2200">
                <a:cs typeface="Arial"/>
              </a:rPr>
              <a:t> </a:t>
            </a:r>
            <a:r>
              <a:rPr lang="en-US" sz="2200" err="1">
                <a:cs typeface="Arial"/>
              </a:rPr>
              <a:t>ursprünglich</a:t>
            </a:r>
            <a:r>
              <a:rPr lang="en-US" sz="2200">
                <a:cs typeface="Arial"/>
              </a:rPr>
              <a:t> </a:t>
            </a:r>
            <a:r>
              <a:rPr lang="en-US" sz="2200" err="1">
                <a:cs typeface="Arial"/>
              </a:rPr>
              <a:t>aus</a:t>
            </a:r>
            <a:r>
              <a:rPr lang="en-US" sz="2200">
                <a:cs typeface="Arial"/>
              </a:rPr>
              <a:t> Unix</a:t>
            </a:r>
          </a:p>
        </p:txBody>
      </p:sp>
    </p:spTree>
    <p:extLst>
      <p:ext uri="{BB962C8B-B14F-4D97-AF65-F5344CB8AC3E}">
        <p14:creationId xmlns:p14="http://schemas.microsoft.com/office/powerpoint/2010/main" val="194650118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B4A332A-0438-519F-4F62-2071DDB4FD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6401" y="6515213"/>
            <a:ext cx="8813273" cy="216000"/>
          </a:xfrm>
        </p:spPr>
        <p:txBody>
          <a:bodyPr anchor="t">
            <a:normAutofit/>
          </a:bodyPr>
          <a:lstStyle/>
          <a:p>
            <a:pPr>
              <a:spcAft>
                <a:spcPts val="600"/>
              </a:spcAft>
            </a:pPr>
            <a:r>
              <a:rPr lang="de-DE"/>
              <a:t>Oliver Daub Dennis Stehle und Robin Starkl | Pylint Workshop | WIN | WiSe 22/3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272DBFBF-0C3A-F61B-A357-C50BD6C527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883778" y="6515213"/>
            <a:ext cx="1899711" cy="216000"/>
          </a:xfrm>
        </p:spPr>
        <p:txBody>
          <a:bodyPr anchor="t">
            <a:normAutofit/>
          </a:bodyPr>
          <a:lstStyle/>
          <a:p>
            <a:pPr>
              <a:spcAft>
                <a:spcPts val="600"/>
              </a:spcAft>
            </a:pPr>
            <a:r>
              <a:rPr lang="de-DE"/>
              <a:t>|  </a:t>
            </a:r>
            <a:fld id="{E6B5151A-17C4-4431-8407-112C0160A8B6}" type="slidenum">
              <a:rPr lang="de-DE" smtClean="0"/>
              <a:pPr>
                <a:spcAft>
                  <a:spcPts val="600"/>
                </a:spcAft>
              </a:pPr>
              <a:t>5</a:t>
            </a:fld>
            <a:endParaRPr lang="de-DE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56FD4F9C-7EA2-B949-8EE8-8112F3A860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6405" y="898525"/>
            <a:ext cx="11377084" cy="863600"/>
          </a:xfrm>
        </p:spPr>
        <p:txBody>
          <a:bodyPr anchor="t">
            <a:normAutofit/>
          </a:bodyPr>
          <a:lstStyle/>
          <a:p>
            <a:r>
              <a:rPr lang="de-DE"/>
              <a:t>PEP 8</a:t>
            </a:r>
            <a:endParaRPr lang="de-DE">
              <a:cs typeface="Arial"/>
            </a:endParaRPr>
          </a:p>
        </p:txBody>
      </p:sp>
      <p:sp>
        <p:nvSpPr>
          <p:cNvPr id="12" name="Content Placeholder 4">
            <a:extLst>
              <a:ext uri="{FF2B5EF4-FFF2-40B4-BE49-F238E27FC236}">
                <a16:creationId xmlns:a16="http://schemas.microsoft.com/office/drawing/2014/main" id="{7180B4F0-FEAF-C77A-2B5D-2094473840C6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06405" y="2033591"/>
            <a:ext cx="11377084" cy="4210049"/>
          </a:xfrm>
        </p:spPr>
        <p:txBody>
          <a:bodyPr/>
          <a:lstStyle/>
          <a:p>
            <a:pPr marL="342900" indent="-342900">
              <a:spcAft>
                <a:spcPts val="1998"/>
              </a:spcAft>
              <a:buChar char="•"/>
            </a:pPr>
            <a:r>
              <a:rPr lang="en-US" sz="2000" b="1">
                <a:cs typeface="Arial"/>
              </a:rPr>
              <a:t>Code Layout:</a:t>
            </a:r>
            <a:br>
              <a:rPr lang="en-US" sz="2000">
                <a:cs typeface="Arial"/>
              </a:rPr>
            </a:br>
            <a:r>
              <a:rPr lang="en-US" sz="2000">
                <a:cs typeface="Arial"/>
              </a:rPr>
              <a:t>- </a:t>
            </a:r>
            <a:r>
              <a:rPr lang="en-US" sz="2000" err="1">
                <a:cs typeface="Arial"/>
              </a:rPr>
              <a:t>Leerzeichen</a:t>
            </a:r>
            <a:r>
              <a:rPr lang="en-US" sz="2000">
                <a:cs typeface="Arial"/>
              </a:rPr>
              <a:t> </a:t>
            </a:r>
            <a:r>
              <a:rPr lang="en-US" sz="2000" err="1">
                <a:cs typeface="Arial"/>
              </a:rPr>
              <a:t>anstatt</a:t>
            </a:r>
            <a:r>
              <a:rPr lang="en-US" sz="2000">
                <a:cs typeface="Arial"/>
              </a:rPr>
              <a:t> Tabulator</a:t>
            </a:r>
            <a:br>
              <a:rPr lang="en-US" sz="2000">
                <a:cs typeface="Arial"/>
              </a:rPr>
            </a:br>
            <a:r>
              <a:rPr lang="en-US" sz="2000">
                <a:cs typeface="Arial"/>
              </a:rPr>
              <a:t>- </a:t>
            </a:r>
            <a:r>
              <a:rPr lang="en-US" sz="2000" err="1">
                <a:cs typeface="Arial"/>
              </a:rPr>
              <a:t>Klammern</a:t>
            </a:r>
            <a:r>
              <a:rPr lang="en-US" sz="2000">
                <a:cs typeface="Arial"/>
              </a:rPr>
              <a:t> </a:t>
            </a:r>
            <a:r>
              <a:rPr lang="en-US" sz="2000" err="1">
                <a:cs typeface="Arial"/>
              </a:rPr>
              <a:t>außerhalb</a:t>
            </a:r>
            <a:r>
              <a:rPr lang="en-US" sz="2000">
                <a:cs typeface="Arial"/>
              </a:rPr>
              <a:t> von Listen</a:t>
            </a:r>
            <a:br>
              <a:rPr lang="en-US" sz="2000"/>
            </a:br>
            <a:r>
              <a:rPr lang="en-US" sz="2000">
                <a:cs typeface="Arial"/>
              </a:rPr>
              <a:t>- Max. </a:t>
            </a:r>
            <a:r>
              <a:rPr lang="en-US" sz="2000" err="1">
                <a:cs typeface="Arial"/>
              </a:rPr>
              <a:t>Zeilenlänge</a:t>
            </a:r>
            <a:r>
              <a:rPr lang="en-US" sz="2000">
                <a:cs typeface="Arial"/>
              </a:rPr>
              <a:t>: 79 </a:t>
            </a:r>
            <a:r>
              <a:rPr lang="en-US" sz="2000" err="1">
                <a:cs typeface="Arial"/>
              </a:rPr>
              <a:t>Zeichen</a:t>
            </a:r>
            <a:br>
              <a:rPr lang="en-US" sz="2000">
                <a:cs typeface="Arial"/>
              </a:rPr>
            </a:br>
            <a:r>
              <a:rPr lang="en-US" sz="2000">
                <a:cs typeface="Arial"/>
              </a:rPr>
              <a:t>- </a:t>
            </a:r>
            <a:r>
              <a:rPr lang="en-US" sz="2000" err="1">
                <a:cs typeface="Arial"/>
              </a:rPr>
              <a:t>Leerzeichen</a:t>
            </a:r>
            <a:r>
              <a:rPr lang="en-US" sz="2000">
                <a:cs typeface="Arial"/>
              </a:rPr>
              <a:t> </a:t>
            </a:r>
            <a:r>
              <a:rPr lang="en-US" sz="2000" err="1">
                <a:cs typeface="Arial"/>
              </a:rPr>
              <a:t>richtig</a:t>
            </a:r>
            <a:r>
              <a:rPr lang="en-US" sz="2000">
                <a:cs typeface="Arial"/>
              </a:rPr>
              <a:t> </a:t>
            </a:r>
            <a:r>
              <a:rPr lang="en-US" sz="2000" err="1">
                <a:cs typeface="Arial"/>
              </a:rPr>
              <a:t>setzten</a:t>
            </a:r>
            <a:endParaRPr lang="en-US" sz="2000">
              <a:cs typeface="Arial"/>
            </a:endParaRPr>
          </a:p>
          <a:p>
            <a:pPr marL="342900" indent="-342900">
              <a:spcAft>
                <a:spcPts val="1998"/>
              </a:spcAft>
              <a:buChar char="•"/>
            </a:pPr>
            <a:r>
              <a:rPr lang="en-US" sz="2000" b="1">
                <a:cs typeface="Arial"/>
              </a:rPr>
              <a:t>Namenskonventionen:</a:t>
            </a:r>
            <a:br>
              <a:rPr lang="en-US" sz="2000">
                <a:cs typeface="Arial"/>
              </a:rPr>
            </a:br>
            <a:r>
              <a:rPr lang="en-US" sz="2000">
                <a:cs typeface="Arial"/>
              </a:rPr>
              <a:t>- </a:t>
            </a:r>
            <a:r>
              <a:rPr lang="en-US" sz="2000" err="1">
                <a:cs typeface="Arial"/>
              </a:rPr>
              <a:t>Keine</a:t>
            </a:r>
            <a:r>
              <a:rPr lang="en-US" sz="2000">
                <a:cs typeface="Arial"/>
              </a:rPr>
              <a:t> </a:t>
            </a:r>
            <a:r>
              <a:rPr lang="en-US" sz="2000" err="1">
                <a:cs typeface="Arial"/>
              </a:rPr>
              <a:t>einzelnen</a:t>
            </a:r>
            <a:r>
              <a:rPr lang="en-US" sz="2000">
                <a:cs typeface="Arial"/>
              </a:rPr>
              <a:t> </a:t>
            </a:r>
            <a:r>
              <a:rPr lang="en-US" sz="2000" err="1">
                <a:cs typeface="Arial"/>
              </a:rPr>
              <a:t>Zeichen</a:t>
            </a:r>
            <a:br>
              <a:rPr lang="en-US" sz="2000"/>
            </a:br>
            <a:r>
              <a:rPr lang="en-US" sz="2000">
                <a:cs typeface="Arial"/>
              </a:rPr>
              <a:t>- </a:t>
            </a:r>
            <a:r>
              <a:rPr lang="en-US" sz="2000" err="1">
                <a:cs typeface="Arial"/>
              </a:rPr>
              <a:t>Variablennamen</a:t>
            </a:r>
            <a:r>
              <a:rPr lang="en-US" sz="2000">
                <a:cs typeface="Arial"/>
              </a:rPr>
              <a:t> in </a:t>
            </a:r>
            <a:r>
              <a:rPr lang="en-US" sz="2000" err="1">
                <a:cs typeface="Arial"/>
              </a:rPr>
              <a:t>snake_case</a:t>
            </a:r>
            <a:br>
              <a:rPr lang="en-US" sz="2000">
                <a:cs typeface="Arial"/>
              </a:rPr>
            </a:br>
            <a:r>
              <a:rPr lang="en-US" sz="2000">
                <a:cs typeface="Arial"/>
              </a:rPr>
              <a:t>- </a:t>
            </a:r>
            <a:r>
              <a:rPr lang="en-US" sz="2000" err="1">
                <a:cs typeface="Arial"/>
              </a:rPr>
              <a:t>Klassennamen</a:t>
            </a:r>
            <a:r>
              <a:rPr lang="en-US" sz="2000">
                <a:cs typeface="Arial"/>
              </a:rPr>
              <a:t> in CamelCase</a:t>
            </a:r>
          </a:p>
          <a:p>
            <a:pPr marL="342900" indent="-342900">
              <a:spcAft>
                <a:spcPts val="1998"/>
              </a:spcAft>
              <a:buChar char="•"/>
            </a:pPr>
            <a:r>
              <a:rPr lang="en-US" sz="2000" b="1" err="1">
                <a:cs typeface="Arial"/>
              </a:rPr>
              <a:t>Programmier</a:t>
            </a:r>
            <a:r>
              <a:rPr lang="en-US" sz="2000" b="1">
                <a:cs typeface="Arial"/>
              </a:rPr>
              <a:t> </a:t>
            </a:r>
            <a:r>
              <a:rPr lang="en-US" sz="2000" b="1" err="1">
                <a:cs typeface="Arial"/>
              </a:rPr>
              <a:t>Empfehlungen</a:t>
            </a:r>
            <a:r>
              <a:rPr lang="en-US" sz="2000" b="1">
                <a:cs typeface="Arial"/>
              </a:rPr>
              <a:t>:</a:t>
            </a:r>
            <a:br>
              <a:rPr lang="en-US" sz="2000">
                <a:cs typeface="Arial"/>
              </a:rPr>
            </a:br>
            <a:r>
              <a:rPr lang="en-US" sz="2000">
                <a:cs typeface="Arial"/>
              </a:rPr>
              <a:t>- Kein overload in return statements</a:t>
            </a:r>
          </a:p>
          <a:p>
            <a:pPr marL="287655" lvl="3">
              <a:spcAft>
                <a:spcPts val="1998"/>
              </a:spcAft>
              <a:buChar char="•"/>
            </a:pPr>
            <a:endParaRPr lang="en-US" sz="1800"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19528550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E434B52B-BCC6-7F2B-EDDB-00328868671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Oliver Daub Dennis Stehle und Robin Starkl | Pylint Workshop | WIN | WiSe 22/3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E40983E6-7D24-2ED7-70CB-AB95C3F8EA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/>
              <a:t>|  </a:t>
            </a:r>
            <a:fld id="{E6B5151A-17C4-4431-8407-112C0160A8B6}" type="slidenum">
              <a:rPr lang="de-DE" smtClean="0"/>
              <a:pPr/>
              <a:t>6</a:t>
            </a:fld>
            <a:endParaRPr lang="de-DE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FE0C383C-2853-A569-1FA7-84E899B178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>
                <a:cs typeface="Arial"/>
              </a:rPr>
              <a:t>Wofür wird </a:t>
            </a:r>
            <a:r>
              <a:rPr lang="de-DE" err="1">
                <a:cs typeface="Arial"/>
              </a:rPr>
              <a:t>Pylint</a:t>
            </a:r>
            <a:r>
              <a:rPr lang="de-DE">
                <a:cs typeface="Arial"/>
              </a:rPr>
              <a:t> benötigt</a:t>
            </a:r>
            <a:endParaRPr lang="de-DE"/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09B702CF-25F8-3C09-28C6-D74EAA29BEDE}"/>
              </a:ext>
            </a:extLst>
          </p:cNvPr>
          <p:cNvSpPr>
            <a:spLocks noGrp="1"/>
          </p:cNvSpPr>
          <p:nvPr>
            <p:ph idx="13"/>
          </p:nvPr>
        </p:nvSpPr>
        <p:spPr/>
        <p:txBody>
          <a:bodyPr/>
          <a:lstStyle/>
          <a:p>
            <a:pPr marL="342900" indent="-342900">
              <a:buChar char="•"/>
            </a:pPr>
            <a:r>
              <a:rPr lang="de-DE" sz="2200">
                <a:cs typeface="Arial"/>
              </a:rPr>
              <a:t>Clean Code</a:t>
            </a:r>
          </a:p>
          <a:p>
            <a:pPr marL="342900" indent="-342900">
              <a:spcAft>
                <a:spcPts val="1998"/>
              </a:spcAft>
              <a:buChar char="•"/>
            </a:pPr>
            <a:r>
              <a:rPr lang="de-DE" sz="2200">
                <a:cs typeface="Arial"/>
              </a:rPr>
              <a:t>Code-Qualität erhöhen</a:t>
            </a:r>
          </a:p>
          <a:p>
            <a:pPr marL="342900" indent="-342900">
              <a:spcAft>
                <a:spcPts val="1998"/>
              </a:spcAft>
              <a:buChar char="•"/>
            </a:pPr>
            <a:r>
              <a:rPr lang="de-DE" sz="2200">
                <a:cs typeface="Arial"/>
              </a:rPr>
              <a:t>Fehler reduzieren</a:t>
            </a:r>
          </a:p>
          <a:p>
            <a:pPr marL="342900" indent="-342900">
              <a:spcAft>
                <a:spcPts val="1998"/>
              </a:spcAft>
              <a:buChar char="•"/>
            </a:pPr>
            <a:r>
              <a:rPr lang="de-DE" sz="2200">
                <a:cs typeface="Arial"/>
              </a:rPr>
              <a:t>Code wird lesbarer und wartbarer</a:t>
            </a:r>
          </a:p>
          <a:p>
            <a:pPr marL="342900" indent="-342900">
              <a:spcAft>
                <a:spcPts val="1998"/>
              </a:spcAft>
              <a:buChar char="•"/>
            </a:pPr>
            <a:r>
              <a:rPr lang="de-DE" sz="2200">
                <a:cs typeface="Arial"/>
              </a:rPr>
              <a:t>Einheitlicher Code</a:t>
            </a:r>
          </a:p>
          <a:p>
            <a:pPr marL="342900" indent="-342900">
              <a:spcAft>
                <a:spcPts val="1998"/>
              </a:spcAft>
              <a:buChar char="•"/>
            </a:pPr>
            <a:r>
              <a:rPr lang="de-DE" sz="2200">
                <a:cs typeface="Arial"/>
              </a:rPr>
              <a:t>Objektive Messbarkeit der Code Qualität</a:t>
            </a:r>
          </a:p>
        </p:txBody>
      </p:sp>
    </p:spTree>
    <p:extLst>
      <p:ext uri="{BB962C8B-B14F-4D97-AF65-F5344CB8AC3E}">
        <p14:creationId xmlns:p14="http://schemas.microsoft.com/office/powerpoint/2010/main" val="353490828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3">
            <a:extLst>
              <a:ext uri="{FF2B5EF4-FFF2-40B4-BE49-F238E27FC236}">
                <a16:creationId xmlns:a16="http://schemas.microsoft.com/office/drawing/2014/main" id="{085AF3C2-CAC6-1863-0E0F-84B20A66A3C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30728" y="2160001"/>
            <a:ext cx="10252761" cy="1531425"/>
          </a:xfrm>
        </p:spPr>
        <p:txBody>
          <a:bodyPr anchor="t">
            <a:normAutofit/>
          </a:bodyPr>
          <a:lstStyle/>
          <a:p>
            <a:r>
              <a:rPr lang="en-US"/>
              <a:t>Praxis Teil 1 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FA298FCA-C5B4-FB32-DEA0-B35892FFF96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6401" y="6515213"/>
            <a:ext cx="8813273" cy="216000"/>
          </a:xfrm>
        </p:spPr>
        <p:txBody>
          <a:bodyPr anchor="t">
            <a:normAutofit/>
          </a:bodyPr>
          <a:lstStyle/>
          <a:p>
            <a:pPr>
              <a:spcAft>
                <a:spcPts val="600"/>
              </a:spcAft>
            </a:pPr>
            <a:r>
              <a:rPr lang="de-DE"/>
              <a:t>Oliver Daub Dennis Stehle und Robin Starkl | Pylint Workshop | WIN | WiSe 22/3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0802128B-9997-AD32-83A4-0A2C684D28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883778" y="6515213"/>
            <a:ext cx="1899711" cy="216000"/>
          </a:xfrm>
        </p:spPr>
        <p:txBody>
          <a:bodyPr anchor="t">
            <a:normAutofit/>
          </a:bodyPr>
          <a:lstStyle/>
          <a:p>
            <a:pPr>
              <a:spcAft>
                <a:spcPts val="600"/>
              </a:spcAft>
            </a:pPr>
            <a:r>
              <a:rPr lang="de-DE"/>
              <a:t>|  </a:t>
            </a:r>
            <a:fld id="{E6B5151A-17C4-4431-8407-112C0160A8B6}" type="slidenum">
              <a:rPr lang="de-DE" smtClean="0"/>
              <a:pPr>
                <a:spcAft>
                  <a:spcPts val="600"/>
                </a:spcAft>
              </a:pPr>
              <a:t>7</a:t>
            </a:fld>
            <a:endParaRPr lang="de-DE"/>
          </a:p>
        </p:txBody>
      </p:sp>
      <p:sp>
        <p:nvSpPr>
          <p:cNvPr id="19" name="Vertical Text Placeholder 4">
            <a:extLst>
              <a:ext uri="{FF2B5EF4-FFF2-40B4-BE49-F238E27FC236}">
                <a16:creationId xmlns:a16="http://schemas.microsoft.com/office/drawing/2014/main" id="{A1A7DBE8-3478-F3B8-5564-6E1D4A0B265A}"/>
              </a:ext>
            </a:extLst>
          </p:cNvPr>
          <p:cNvSpPr>
            <a:spLocks noGrp="1"/>
          </p:cNvSpPr>
          <p:nvPr>
            <p:ph type="body" orient="vert" idx="13"/>
          </p:nvPr>
        </p:nvSpPr>
        <p:spPr>
          <a:xfrm>
            <a:off x="1530728" y="3905249"/>
            <a:ext cx="10252761" cy="2338391"/>
          </a:xfrm>
        </p:spPr>
        <p:txBody>
          <a:bodyPr/>
          <a:lstStyle/>
          <a:p>
            <a:r>
              <a:rPr lang="en-US" sz="1950" err="1">
                <a:cs typeface="Arial"/>
              </a:rPr>
              <a:t>PyLint</a:t>
            </a:r>
            <a:r>
              <a:rPr lang="en-US" sz="1950">
                <a:cs typeface="Arial"/>
              </a:rPr>
              <a:t> </a:t>
            </a:r>
            <a:r>
              <a:rPr lang="en-US" sz="1950" err="1">
                <a:cs typeface="Arial"/>
              </a:rPr>
              <a:t>Allgemein</a:t>
            </a:r>
          </a:p>
          <a:p>
            <a:r>
              <a:rPr lang="en-US" sz="1950">
                <a:cs typeface="Arial"/>
              </a:rPr>
              <a:t>Reports </a:t>
            </a:r>
            <a:r>
              <a:rPr lang="en-US" sz="1950" err="1">
                <a:cs typeface="Arial"/>
              </a:rPr>
              <a:t>erstellen</a:t>
            </a:r>
            <a:endParaRPr lang="en-US" sz="1950">
              <a:cs typeface="Arial"/>
            </a:endParaRPr>
          </a:p>
          <a:p>
            <a:r>
              <a:rPr lang="en-US" sz="1950" err="1">
                <a:cs typeface="Arial"/>
              </a:rPr>
              <a:t>Filtern</a:t>
            </a:r>
          </a:p>
          <a:p>
            <a:r>
              <a:rPr lang="en-US" sz="1950" err="1">
                <a:cs typeface="Arial"/>
              </a:rPr>
              <a:t>Hilfe</a:t>
            </a:r>
            <a:r>
              <a:rPr lang="en-US" sz="1950">
                <a:cs typeface="Arial"/>
              </a:rPr>
              <a:t> </a:t>
            </a:r>
            <a:r>
              <a:rPr lang="en-US" sz="1950" err="1">
                <a:cs typeface="Arial"/>
              </a:rPr>
              <a:t>anfragen</a:t>
            </a:r>
            <a:endParaRPr lang="en-US" sz="1950"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45313374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B4A332A-0438-519F-4F62-2071DDB4FD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6401" y="6515213"/>
            <a:ext cx="8813273" cy="216000"/>
          </a:xfrm>
        </p:spPr>
        <p:txBody>
          <a:bodyPr anchor="t">
            <a:normAutofit/>
          </a:bodyPr>
          <a:lstStyle/>
          <a:p>
            <a:pPr>
              <a:spcAft>
                <a:spcPts val="600"/>
              </a:spcAft>
            </a:pPr>
            <a:r>
              <a:rPr lang="de-DE"/>
              <a:t>Oliver Daub Dennis Stehle und Robin Starkl | Pylint Workshop | WIN | WiSe 22/3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272DBFBF-0C3A-F61B-A357-C50BD6C527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883778" y="6515213"/>
            <a:ext cx="1899711" cy="216000"/>
          </a:xfrm>
        </p:spPr>
        <p:txBody>
          <a:bodyPr anchor="t">
            <a:normAutofit/>
          </a:bodyPr>
          <a:lstStyle/>
          <a:p>
            <a:pPr>
              <a:spcAft>
                <a:spcPts val="600"/>
              </a:spcAft>
            </a:pPr>
            <a:r>
              <a:rPr lang="de-DE"/>
              <a:t>|  </a:t>
            </a:r>
            <a:fld id="{E6B5151A-17C4-4431-8407-112C0160A8B6}" type="slidenum">
              <a:rPr lang="de-DE" smtClean="0"/>
              <a:pPr>
                <a:spcAft>
                  <a:spcPts val="600"/>
                </a:spcAft>
              </a:pPr>
              <a:t>8</a:t>
            </a:fld>
            <a:endParaRPr lang="de-DE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56FD4F9C-7EA2-B949-8EE8-8112F3A860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6405" y="898525"/>
            <a:ext cx="11377084" cy="863600"/>
          </a:xfrm>
        </p:spPr>
        <p:txBody>
          <a:bodyPr anchor="t">
            <a:normAutofit/>
          </a:bodyPr>
          <a:lstStyle/>
          <a:p>
            <a:r>
              <a:rPr lang="de-DE"/>
              <a:t>Aufgabe 1 – </a:t>
            </a:r>
            <a:r>
              <a:rPr lang="de-DE" err="1"/>
              <a:t>Pylint</a:t>
            </a:r>
            <a:r>
              <a:rPr lang="de-DE"/>
              <a:t> ausführen</a:t>
            </a:r>
            <a:endParaRPr lang="en-US"/>
          </a:p>
        </p:txBody>
      </p:sp>
      <p:sp>
        <p:nvSpPr>
          <p:cNvPr id="12" name="Content Placeholder 4">
            <a:extLst>
              <a:ext uri="{FF2B5EF4-FFF2-40B4-BE49-F238E27FC236}">
                <a16:creationId xmlns:a16="http://schemas.microsoft.com/office/drawing/2014/main" id="{7180B4F0-FEAF-C77A-2B5D-2094473840C6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06405" y="2033591"/>
            <a:ext cx="11377084" cy="4210049"/>
          </a:xfrm>
        </p:spPr>
        <p:txBody>
          <a:bodyPr/>
          <a:lstStyle/>
          <a:p>
            <a:r>
              <a:rPr lang="en-US" sz="2200" err="1">
                <a:cs typeface="Arial"/>
              </a:rPr>
              <a:t>Führt</a:t>
            </a:r>
            <a:r>
              <a:rPr lang="en-US" sz="2200">
                <a:cs typeface="Arial"/>
              </a:rPr>
              <a:t> </a:t>
            </a:r>
            <a:r>
              <a:rPr lang="en-US" sz="2200" err="1">
                <a:cs typeface="Arial"/>
              </a:rPr>
              <a:t>Pylint</a:t>
            </a:r>
            <a:r>
              <a:rPr lang="en-US" sz="2200">
                <a:cs typeface="Arial"/>
              </a:rPr>
              <a:t> </a:t>
            </a:r>
            <a:r>
              <a:rPr lang="en-US" sz="2200" err="1">
                <a:cs typeface="Arial"/>
              </a:rPr>
              <a:t>durch</a:t>
            </a:r>
            <a:r>
              <a:rPr lang="en-US" sz="2200">
                <a:cs typeface="Arial"/>
              </a:rPr>
              <a:t> "</a:t>
            </a:r>
            <a:r>
              <a:rPr lang="en-US" sz="2200" err="1">
                <a:cs typeface="Arial"/>
              </a:rPr>
              <a:t>pylint</a:t>
            </a:r>
            <a:r>
              <a:rPr lang="en-US" sz="2200">
                <a:cs typeface="Arial"/>
              </a:rPr>
              <a:t> &lt;</a:t>
            </a:r>
            <a:r>
              <a:rPr lang="en-US" sz="2200" err="1">
                <a:cs typeface="Arial"/>
              </a:rPr>
              <a:t>dateiname</a:t>
            </a:r>
            <a:r>
              <a:rPr lang="en-US" sz="2200">
                <a:cs typeface="Arial"/>
              </a:rPr>
              <a:t>&gt;.</a:t>
            </a:r>
            <a:r>
              <a:rPr lang="en-US" sz="2200" err="1">
                <a:cs typeface="Arial"/>
              </a:rPr>
              <a:t>py</a:t>
            </a:r>
            <a:r>
              <a:rPr lang="en-US" sz="2200">
                <a:cs typeface="Arial"/>
              </a:rPr>
              <a:t>" auf </a:t>
            </a:r>
            <a:r>
              <a:rPr lang="en-US" sz="2200" err="1">
                <a:cs typeface="Arial"/>
              </a:rPr>
              <a:t>einem</a:t>
            </a:r>
            <a:r>
              <a:rPr lang="en-US" sz="2200">
                <a:cs typeface="Arial"/>
              </a:rPr>
              <a:t> Python Code </a:t>
            </a:r>
            <a:r>
              <a:rPr lang="en-US" sz="2200" err="1">
                <a:cs typeface="Arial"/>
              </a:rPr>
              <a:t>aus</a:t>
            </a:r>
            <a:r>
              <a:rPr lang="en-US" sz="2200">
                <a:cs typeface="Arial"/>
              </a:rPr>
              <a:t>, an </a:t>
            </a:r>
            <a:r>
              <a:rPr lang="en-US" sz="2200" err="1">
                <a:cs typeface="Arial"/>
              </a:rPr>
              <a:t>welchem</a:t>
            </a:r>
            <a:r>
              <a:rPr lang="en-US" sz="2200">
                <a:cs typeface="Arial"/>
              </a:rPr>
              <a:t> </a:t>
            </a:r>
            <a:r>
              <a:rPr lang="en-US" sz="2200" err="1">
                <a:cs typeface="Arial"/>
              </a:rPr>
              <a:t>Ihr</a:t>
            </a:r>
            <a:r>
              <a:rPr lang="en-US" sz="2200">
                <a:cs typeface="Arial"/>
              </a:rPr>
              <a:t> </a:t>
            </a:r>
            <a:r>
              <a:rPr lang="en-US" sz="2200" err="1">
                <a:cs typeface="Arial"/>
              </a:rPr>
              <a:t>selbst</a:t>
            </a:r>
            <a:r>
              <a:rPr lang="en-US" sz="2200">
                <a:cs typeface="Arial"/>
              </a:rPr>
              <a:t> </a:t>
            </a:r>
            <a:r>
              <a:rPr lang="en-US" sz="2200" err="1">
                <a:cs typeface="Arial"/>
              </a:rPr>
              <a:t>gearbeitet</a:t>
            </a:r>
            <a:r>
              <a:rPr lang="en-US" sz="2200">
                <a:cs typeface="Arial"/>
              </a:rPr>
              <a:t> </a:t>
            </a:r>
            <a:r>
              <a:rPr lang="en-US" sz="2200" err="1">
                <a:cs typeface="Arial"/>
              </a:rPr>
              <a:t>habt</a:t>
            </a:r>
            <a:r>
              <a:rPr lang="en-US" sz="2200">
                <a:cs typeface="Arial"/>
              </a:rPr>
              <a:t>.</a:t>
            </a:r>
            <a:endParaRPr lang="en-US">
              <a:cs typeface="Arial"/>
            </a:endParaRPr>
          </a:p>
          <a:p>
            <a:pPr marL="342900" indent="-342900">
              <a:spcAft>
                <a:spcPts val="1998"/>
              </a:spcAft>
              <a:buFont typeface="Wingdings" panose="020B0604020202020204" pitchFamily="34" charset="0"/>
              <a:buChar char="§"/>
            </a:pPr>
            <a:r>
              <a:rPr lang="en-US" sz="2200" err="1">
                <a:cs typeface="Arial"/>
              </a:rPr>
              <a:t>Zeilen</a:t>
            </a:r>
            <a:r>
              <a:rPr lang="en-US" sz="2200">
                <a:cs typeface="Arial"/>
              </a:rPr>
              <a:t>, in </a:t>
            </a:r>
            <a:br>
              <a:rPr lang="en-US" sz="2200">
                <a:cs typeface="Arial"/>
              </a:rPr>
            </a:br>
            <a:r>
              <a:rPr lang="en-US" sz="2200" err="1">
                <a:cs typeface="Arial"/>
              </a:rPr>
              <a:t>denen</a:t>
            </a:r>
            <a:r>
              <a:rPr lang="en-US" sz="2200">
                <a:cs typeface="Arial"/>
              </a:rPr>
              <a:t> die </a:t>
            </a:r>
            <a:r>
              <a:rPr lang="en-US" sz="2200" err="1">
                <a:cs typeface="Arial"/>
              </a:rPr>
              <a:t>Rückmeldung</a:t>
            </a:r>
            <a:r>
              <a:rPr lang="en-US" sz="2200">
                <a:cs typeface="Arial"/>
              </a:rPr>
              <a:t> </a:t>
            </a:r>
            <a:br>
              <a:rPr lang="en-US" sz="2200">
                <a:cs typeface="Arial"/>
              </a:rPr>
            </a:br>
            <a:r>
              <a:rPr lang="en-US" sz="2200" err="1">
                <a:cs typeface="Arial"/>
              </a:rPr>
              <a:t>zutrifft</a:t>
            </a:r>
            <a:br>
              <a:rPr lang="en-US" sz="2200">
                <a:cs typeface="Arial"/>
              </a:rPr>
            </a:br>
            <a:br>
              <a:rPr lang="en-US" sz="2200">
                <a:cs typeface="Arial"/>
              </a:rPr>
            </a:br>
            <a:r>
              <a:rPr lang="en-US" sz="2200">
                <a:cs typeface="Arial"/>
              </a:rPr>
              <a:t>Message-ID</a:t>
            </a:r>
            <a:br>
              <a:rPr lang="en-US" sz="2200">
                <a:cs typeface="Arial"/>
              </a:rPr>
            </a:br>
            <a:br>
              <a:rPr lang="en-US" sz="2200">
                <a:cs typeface="Arial"/>
              </a:rPr>
            </a:br>
            <a:r>
              <a:rPr lang="en-US" sz="2200">
                <a:cs typeface="Arial"/>
              </a:rPr>
              <a:t>Message</a:t>
            </a:r>
            <a:br>
              <a:rPr lang="en-US" sz="2200">
                <a:cs typeface="Arial"/>
              </a:rPr>
            </a:br>
            <a:br>
              <a:rPr lang="en-US" sz="2200">
                <a:cs typeface="Arial"/>
              </a:rPr>
            </a:br>
            <a:r>
              <a:rPr lang="en-US" sz="2200">
                <a:cs typeface="Arial"/>
              </a:rPr>
              <a:t>Symbol</a:t>
            </a:r>
          </a:p>
        </p:txBody>
      </p:sp>
      <p:pic>
        <p:nvPicPr>
          <p:cNvPr id="5" name="Picture 5" descr="Text&#10;&#10;Description automatically generated">
            <a:extLst>
              <a:ext uri="{FF2B5EF4-FFF2-40B4-BE49-F238E27FC236}">
                <a16:creationId xmlns:a16="http://schemas.microsoft.com/office/drawing/2014/main" id="{00ABC348-4F8D-B146-91B2-DA0CA4F48E4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26340" y="2961969"/>
            <a:ext cx="7457363" cy="3345164"/>
          </a:xfrm>
          <a:prstGeom prst="rect">
            <a:avLst/>
          </a:prstGeom>
        </p:spPr>
      </p:pic>
      <mc:AlternateContent xmlns:mc="http://schemas.openxmlformats.org/markup-compatibility/2006" xmlns:p14="http://schemas.microsoft.com/office/powerpoint/2010/main">
        <mc:Choice Requires="p14">
          <p:contentPart p14:bwMode="auto" r:id="rId3">
            <p14:nvContentPartPr>
              <p14:cNvPr id="8" name="Ink 7">
                <a:extLst>
                  <a:ext uri="{FF2B5EF4-FFF2-40B4-BE49-F238E27FC236}">
                    <a16:creationId xmlns:a16="http://schemas.microsoft.com/office/drawing/2014/main" id="{A33DFEE1-3D52-3918-8647-AB010FDA5FF8}"/>
                  </a:ext>
                </a:extLst>
              </p14:cNvPr>
              <p14:cNvContentPartPr/>
              <p14:nvPr/>
            </p14:nvContentPartPr>
            <p14:xfrm>
              <a:off x="5304773" y="3116853"/>
              <a:ext cx="422812" cy="2913449"/>
            </p14:xfrm>
          </p:contentPart>
        </mc:Choice>
        <mc:Fallback xmlns="">
          <p:pic>
            <p:nvPicPr>
              <p:cNvPr id="8" name="Ink 7">
                <a:extLst>
                  <a:ext uri="{FF2B5EF4-FFF2-40B4-BE49-F238E27FC236}">
                    <a16:creationId xmlns:a16="http://schemas.microsoft.com/office/drawing/2014/main" id="{A33DFEE1-3D52-3918-8647-AB010FDA5FF8}"/>
                  </a:ext>
                </a:extLst>
              </p:cNvPr>
              <p:cNvPicPr/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5250843" y="3008867"/>
                <a:ext cx="530313" cy="312906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5">
            <p14:nvContentPartPr>
              <p14:cNvPr id="9" name="Ink 8">
                <a:extLst>
                  <a:ext uri="{FF2B5EF4-FFF2-40B4-BE49-F238E27FC236}">
                    <a16:creationId xmlns:a16="http://schemas.microsoft.com/office/drawing/2014/main" id="{69403AFC-D8B9-B421-7328-31D2FAD082E6}"/>
                  </a:ext>
                </a:extLst>
              </p14:cNvPr>
              <p14:cNvContentPartPr/>
              <p14:nvPr/>
            </p14:nvContentPartPr>
            <p14:xfrm>
              <a:off x="5503878" y="4231647"/>
              <a:ext cx="34837" cy="410684"/>
            </p14:xfrm>
          </p:contentPart>
        </mc:Choice>
        <mc:Fallback xmlns="">
          <p:pic>
            <p:nvPicPr>
              <p:cNvPr id="9" name="Ink 8">
                <a:extLst>
                  <a:ext uri="{FF2B5EF4-FFF2-40B4-BE49-F238E27FC236}">
                    <a16:creationId xmlns:a16="http://schemas.microsoft.com/office/drawing/2014/main" id="{69403AFC-D8B9-B421-7328-31D2FAD082E6}"/>
                  </a:ext>
                </a:extLst>
              </p:cNvPr>
              <p:cNvPicPr/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5450556" y="4123667"/>
                <a:ext cx="141125" cy="626284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7">
            <p14:nvContentPartPr>
              <p14:cNvPr id="10" name="Ink 9">
                <a:extLst>
                  <a:ext uri="{FF2B5EF4-FFF2-40B4-BE49-F238E27FC236}">
                    <a16:creationId xmlns:a16="http://schemas.microsoft.com/office/drawing/2014/main" id="{0CA83180-E6DF-F948-2776-5735D30F5EA0}"/>
                  </a:ext>
                </a:extLst>
              </p14:cNvPr>
              <p14:cNvContentPartPr/>
              <p14:nvPr/>
            </p14:nvContentPartPr>
            <p14:xfrm>
              <a:off x="5741100" y="3288719"/>
              <a:ext cx="395628" cy="2782163"/>
            </p14:xfrm>
          </p:contentPart>
        </mc:Choice>
        <mc:Fallback xmlns="">
          <p:pic>
            <p:nvPicPr>
              <p:cNvPr id="10" name="Ink 9">
                <a:extLst>
                  <a:ext uri="{FF2B5EF4-FFF2-40B4-BE49-F238E27FC236}">
                    <a16:creationId xmlns:a16="http://schemas.microsoft.com/office/drawing/2014/main" id="{0CA83180-E6DF-F948-2776-5735D30F5EA0}"/>
                  </a:ext>
                </a:extLst>
              </p:cNvPr>
              <p:cNvPicPr/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5687151" y="3180730"/>
                <a:ext cx="503167" cy="2997782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9">
            <p14:nvContentPartPr>
              <p14:cNvPr id="11" name="Ink 10">
                <a:extLst>
                  <a:ext uri="{FF2B5EF4-FFF2-40B4-BE49-F238E27FC236}">
                    <a16:creationId xmlns:a16="http://schemas.microsoft.com/office/drawing/2014/main" id="{C7378837-0A59-AB90-D2F2-8953CFCFE1F7}"/>
                  </a:ext>
                </a:extLst>
              </p14:cNvPr>
              <p14:cNvContentPartPr/>
              <p14:nvPr/>
            </p14:nvContentPartPr>
            <p14:xfrm>
              <a:off x="5725371" y="3815686"/>
              <a:ext cx="97673" cy="26113"/>
            </p14:xfrm>
          </p:contentPart>
        </mc:Choice>
        <mc:Fallback xmlns="">
          <p:pic>
            <p:nvPicPr>
              <p:cNvPr id="11" name="Ink 10">
                <a:extLst>
                  <a:ext uri="{FF2B5EF4-FFF2-40B4-BE49-F238E27FC236}">
                    <a16:creationId xmlns:a16="http://schemas.microsoft.com/office/drawing/2014/main" id="{C7378837-0A59-AB90-D2F2-8953CFCFE1F7}"/>
                  </a:ext>
                </a:extLst>
              </p:cNvPr>
              <p:cNvPicPr/>
              <p:nvPr/>
            </p:nvPicPr>
            <p:blipFill>
              <a:blip r:embed="rId10"/>
              <a:stretch>
                <a:fillRect/>
              </a:stretch>
            </p:blipFill>
            <p:spPr>
              <a:xfrm>
                <a:off x="5671507" y="3709822"/>
                <a:ext cx="205041" cy="237487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11">
            <p14:nvContentPartPr>
              <p14:cNvPr id="13" name="Ink 12">
                <a:extLst>
                  <a:ext uri="{FF2B5EF4-FFF2-40B4-BE49-F238E27FC236}">
                    <a16:creationId xmlns:a16="http://schemas.microsoft.com/office/drawing/2014/main" id="{CDAE74E0-DA09-9035-609F-7CCA1B408A6E}"/>
                  </a:ext>
                </a:extLst>
              </p14:cNvPr>
              <p14:cNvContentPartPr/>
              <p14:nvPr/>
            </p14:nvContentPartPr>
            <p14:xfrm>
              <a:off x="7490719" y="3247029"/>
              <a:ext cx="1792612" cy="57285"/>
            </p14:xfrm>
          </p:contentPart>
        </mc:Choice>
        <mc:Fallback xmlns="">
          <p:pic>
            <p:nvPicPr>
              <p:cNvPr id="13" name="Ink 12">
                <a:extLst>
                  <a:ext uri="{FF2B5EF4-FFF2-40B4-BE49-F238E27FC236}">
                    <a16:creationId xmlns:a16="http://schemas.microsoft.com/office/drawing/2014/main" id="{CDAE74E0-DA09-9035-609F-7CCA1B408A6E}"/>
                  </a:ext>
                </a:extLst>
              </p:cNvPr>
              <p:cNvPicPr/>
              <p:nvPr/>
            </p:nvPicPr>
            <p:blipFill>
              <a:blip r:embed="rId12"/>
              <a:stretch>
                <a:fillRect/>
              </a:stretch>
            </p:blipFill>
            <p:spPr>
              <a:xfrm>
                <a:off x="7436725" y="3139620"/>
                <a:ext cx="1900241" cy="271746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13">
            <p14:nvContentPartPr>
              <p14:cNvPr id="14" name="Ink 13">
                <a:extLst>
                  <a:ext uri="{FF2B5EF4-FFF2-40B4-BE49-F238E27FC236}">
                    <a16:creationId xmlns:a16="http://schemas.microsoft.com/office/drawing/2014/main" id="{D229BB86-1CE2-4B93-AE50-60503844C9BF}"/>
                  </a:ext>
                </a:extLst>
              </p14:cNvPr>
              <p14:cNvContentPartPr/>
              <p14:nvPr/>
            </p14:nvContentPartPr>
            <p14:xfrm>
              <a:off x="8791432" y="3382859"/>
              <a:ext cx="1657200" cy="47426"/>
            </p14:xfrm>
          </p:contentPart>
        </mc:Choice>
        <mc:Fallback xmlns="">
          <p:pic>
            <p:nvPicPr>
              <p:cNvPr id="14" name="Ink 13">
                <a:extLst>
                  <a:ext uri="{FF2B5EF4-FFF2-40B4-BE49-F238E27FC236}">
                    <a16:creationId xmlns:a16="http://schemas.microsoft.com/office/drawing/2014/main" id="{D229BB86-1CE2-4B93-AE50-60503844C9BF}"/>
                  </a:ext>
                </a:extLst>
              </p:cNvPr>
              <p:cNvPicPr/>
              <p:nvPr/>
            </p:nvPicPr>
            <p:blipFill>
              <a:blip r:embed="rId14"/>
              <a:stretch>
                <a:fillRect/>
              </a:stretch>
            </p:blipFill>
            <p:spPr>
              <a:xfrm>
                <a:off x="8737440" y="3275883"/>
                <a:ext cx="1764824" cy="261021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15">
            <p14:nvContentPartPr>
              <p14:cNvPr id="15" name="Ink 14">
                <a:extLst>
                  <a:ext uri="{FF2B5EF4-FFF2-40B4-BE49-F238E27FC236}">
                    <a16:creationId xmlns:a16="http://schemas.microsoft.com/office/drawing/2014/main" id="{36B74B14-93D9-967C-D4C5-3C30A4D0D888}"/>
                  </a:ext>
                </a:extLst>
              </p14:cNvPr>
              <p14:cNvContentPartPr/>
              <p14:nvPr/>
            </p14:nvContentPartPr>
            <p14:xfrm>
              <a:off x="8882418" y="3565308"/>
              <a:ext cx="1547638" cy="40426"/>
            </p14:xfrm>
          </p:contentPart>
        </mc:Choice>
        <mc:Fallback xmlns="">
          <p:pic>
            <p:nvPicPr>
              <p:cNvPr id="15" name="Ink 14">
                <a:extLst>
                  <a:ext uri="{FF2B5EF4-FFF2-40B4-BE49-F238E27FC236}">
                    <a16:creationId xmlns:a16="http://schemas.microsoft.com/office/drawing/2014/main" id="{36B74B14-93D9-967C-D4C5-3C30A4D0D888}"/>
                  </a:ext>
                </a:extLst>
              </p:cNvPr>
              <p:cNvPicPr/>
              <p:nvPr/>
            </p:nvPicPr>
            <p:blipFill>
              <a:blip r:embed="rId16"/>
              <a:stretch>
                <a:fillRect/>
              </a:stretch>
            </p:blipFill>
            <p:spPr>
              <a:xfrm>
                <a:off x="8828431" y="3457982"/>
                <a:ext cx="1655253" cy="25472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17">
            <p14:nvContentPartPr>
              <p14:cNvPr id="16" name="Ink 15">
                <a:extLst>
                  <a:ext uri="{FF2B5EF4-FFF2-40B4-BE49-F238E27FC236}">
                    <a16:creationId xmlns:a16="http://schemas.microsoft.com/office/drawing/2014/main" id="{648118C2-6A1F-DF87-8C71-F614C56AE350}"/>
                  </a:ext>
                </a:extLst>
              </p14:cNvPr>
              <p14:cNvContentPartPr/>
              <p14:nvPr/>
            </p14:nvContentPartPr>
            <p14:xfrm>
              <a:off x="7545108" y="3700669"/>
              <a:ext cx="1826870" cy="82369"/>
            </p14:xfrm>
          </p:contentPart>
        </mc:Choice>
        <mc:Fallback xmlns="">
          <p:pic>
            <p:nvPicPr>
              <p:cNvPr id="16" name="Ink 15">
                <a:extLst>
                  <a:ext uri="{FF2B5EF4-FFF2-40B4-BE49-F238E27FC236}">
                    <a16:creationId xmlns:a16="http://schemas.microsoft.com/office/drawing/2014/main" id="{648118C2-6A1F-DF87-8C71-F614C56AE350}"/>
                  </a:ext>
                </a:extLst>
              </p:cNvPr>
              <p:cNvPicPr/>
              <p:nvPr/>
            </p:nvPicPr>
            <p:blipFill>
              <a:blip r:embed="rId18"/>
              <a:stretch>
                <a:fillRect/>
              </a:stretch>
            </p:blipFill>
            <p:spPr>
              <a:xfrm>
                <a:off x="7491122" y="3593231"/>
                <a:ext cx="1934481" cy="296887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19">
            <p14:nvContentPartPr>
              <p14:cNvPr id="17" name="Ink 16">
                <a:extLst>
                  <a:ext uri="{FF2B5EF4-FFF2-40B4-BE49-F238E27FC236}">
                    <a16:creationId xmlns:a16="http://schemas.microsoft.com/office/drawing/2014/main" id="{C0E5875E-87E2-BF96-6563-92E2C3CB3AB7}"/>
                  </a:ext>
                </a:extLst>
              </p14:cNvPr>
              <p14:cNvContentPartPr/>
              <p14:nvPr/>
            </p14:nvContentPartPr>
            <p14:xfrm>
              <a:off x="7756477" y="3785027"/>
              <a:ext cx="1998339" cy="94234"/>
            </p14:xfrm>
          </p:contentPart>
        </mc:Choice>
        <mc:Fallback xmlns="">
          <p:pic>
            <p:nvPicPr>
              <p:cNvPr id="17" name="Ink 16">
                <a:extLst>
                  <a:ext uri="{FF2B5EF4-FFF2-40B4-BE49-F238E27FC236}">
                    <a16:creationId xmlns:a16="http://schemas.microsoft.com/office/drawing/2014/main" id="{C0E5875E-87E2-BF96-6563-92E2C3CB3AB7}"/>
                  </a:ext>
                </a:extLst>
              </p:cNvPr>
              <p:cNvPicPr/>
              <p:nvPr/>
            </p:nvPicPr>
            <p:blipFill>
              <a:blip r:embed="rId20"/>
              <a:stretch>
                <a:fillRect/>
              </a:stretch>
            </p:blipFill>
            <p:spPr>
              <a:xfrm>
                <a:off x="7702487" y="3677125"/>
                <a:ext cx="2105958" cy="309677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21">
            <p14:nvContentPartPr>
              <p14:cNvPr id="18" name="Ink 17">
                <a:extLst>
                  <a:ext uri="{FF2B5EF4-FFF2-40B4-BE49-F238E27FC236}">
                    <a16:creationId xmlns:a16="http://schemas.microsoft.com/office/drawing/2014/main" id="{6C86A712-770E-B898-9F3B-ECFBCC00202C}"/>
                  </a:ext>
                </a:extLst>
              </p14:cNvPr>
              <p14:cNvContentPartPr/>
              <p14:nvPr/>
            </p14:nvContentPartPr>
            <p14:xfrm>
              <a:off x="8529850" y="3902018"/>
              <a:ext cx="1472429" cy="135444"/>
            </p14:xfrm>
          </p:contentPart>
        </mc:Choice>
        <mc:Fallback xmlns="">
          <p:pic>
            <p:nvPicPr>
              <p:cNvPr id="18" name="Ink 17">
                <a:extLst>
                  <a:ext uri="{FF2B5EF4-FFF2-40B4-BE49-F238E27FC236}">
                    <a16:creationId xmlns:a16="http://schemas.microsoft.com/office/drawing/2014/main" id="{6C86A712-770E-B898-9F3B-ECFBCC00202C}"/>
                  </a:ext>
                </a:extLst>
              </p:cNvPr>
              <p:cNvPicPr/>
              <p:nvPr/>
            </p:nvPicPr>
            <p:blipFill>
              <a:blip r:embed="rId22"/>
              <a:stretch>
                <a:fillRect/>
              </a:stretch>
            </p:blipFill>
            <p:spPr>
              <a:xfrm>
                <a:off x="8475862" y="3794238"/>
                <a:ext cx="1580045" cy="350645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23">
            <p14:nvContentPartPr>
              <p14:cNvPr id="19" name="Ink 18">
                <a:extLst>
                  <a:ext uri="{FF2B5EF4-FFF2-40B4-BE49-F238E27FC236}">
                    <a16:creationId xmlns:a16="http://schemas.microsoft.com/office/drawing/2014/main" id="{22073125-10FB-AD23-7D8E-5A4C076EDAA5}"/>
                  </a:ext>
                </a:extLst>
              </p14:cNvPr>
              <p14:cNvContentPartPr/>
              <p14:nvPr/>
            </p14:nvContentPartPr>
            <p14:xfrm>
              <a:off x="10654693" y="4094069"/>
              <a:ext cx="1161905" cy="51437"/>
            </p14:xfrm>
          </p:contentPart>
        </mc:Choice>
        <mc:Fallback xmlns="">
          <p:pic>
            <p:nvPicPr>
              <p:cNvPr id="19" name="Ink 18">
                <a:extLst>
                  <a:ext uri="{FF2B5EF4-FFF2-40B4-BE49-F238E27FC236}">
                    <a16:creationId xmlns:a16="http://schemas.microsoft.com/office/drawing/2014/main" id="{22073125-10FB-AD23-7D8E-5A4C076EDAA5}"/>
                  </a:ext>
                </a:extLst>
              </p:cNvPr>
              <p:cNvPicPr/>
              <p:nvPr/>
            </p:nvPicPr>
            <p:blipFill>
              <a:blip r:embed="rId24"/>
              <a:stretch>
                <a:fillRect/>
              </a:stretch>
            </p:blipFill>
            <p:spPr>
              <a:xfrm>
                <a:off x="10600718" y="3986159"/>
                <a:ext cx="1269495" cy="266897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25">
            <p14:nvContentPartPr>
              <p14:cNvPr id="20" name="Ink 19">
                <a:extLst>
                  <a:ext uri="{FF2B5EF4-FFF2-40B4-BE49-F238E27FC236}">
                    <a16:creationId xmlns:a16="http://schemas.microsoft.com/office/drawing/2014/main" id="{7B900D7E-6FEC-9D3D-5888-C1A77DB2A6E9}"/>
                  </a:ext>
                </a:extLst>
              </p14:cNvPr>
              <p14:cNvContentPartPr/>
              <p14:nvPr/>
            </p14:nvContentPartPr>
            <p14:xfrm>
              <a:off x="10542895" y="4124231"/>
              <a:ext cx="509928" cy="13403"/>
            </p14:xfrm>
          </p:contentPart>
        </mc:Choice>
        <mc:Fallback xmlns="">
          <p:pic>
            <p:nvPicPr>
              <p:cNvPr id="20" name="Ink 19">
                <a:extLst>
                  <a:ext uri="{FF2B5EF4-FFF2-40B4-BE49-F238E27FC236}">
                    <a16:creationId xmlns:a16="http://schemas.microsoft.com/office/drawing/2014/main" id="{7B900D7E-6FEC-9D3D-5888-C1A77DB2A6E9}"/>
                  </a:ext>
                </a:extLst>
              </p:cNvPr>
              <p:cNvPicPr/>
              <p:nvPr/>
            </p:nvPicPr>
            <p:blipFill>
              <a:blip r:embed="rId26"/>
              <a:stretch>
                <a:fillRect/>
              </a:stretch>
            </p:blipFill>
            <p:spPr>
              <a:xfrm>
                <a:off x="10488953" y="4018418"/>
                <a:ext cx="617452" cy="224677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27">
            <p14:nvContentPartPr>
              <p14:cNvPr id="21" name="Ink 20">
                <a:extLst>
                  <a:ext uri="{FF2B5EF4-FFF2-40B4-BE49-F238E27FC236}">
                    <a16:creationId xmlns:a16="http://schemas.microsoft.com/office/drawing/2014/main" id="{B9AC47DF-29D0-C3FF-78EC-FE0DA1BDECB9}"/>
                  </a:ext>
                </a:extLst>
              </p14:cNvPr>
              <p14:cNvContentPartPr/>
              <p14:nvPr/>
            </p14:nvContentPartPr>
            <p14:xfrm>
              <a:off x="10614887" y="4343657"/>
              <a:ext cx="1228251" cy="91644"/>
            </p14:xfrm>
          </p:contentPart>
        </mc:Choice>
        <mc:Fallback xmlns="">
          <p:pic>
            <p:nvPicPr>
              <p:cNvPr id="21" name="Ink 20">
                <a:extLst>
                  <a:ext uri="{FF2B5EF4-FFF2-40B4-BE49-F238E27FC236}">
                    <a16:creationId xmlns:a16="http://schemas.microsoft.com/office/drawing/2014/main" id="{B9AC47DF-29D0-C3FF-78EC-FE0DA1BDECB9}"/>
                  </a:ext>
                </a:extLst>
              </p:cNvPr>
              <p:cNvPicPr/>
              <p:nvPr/>
            </p:nvPicPr>
            <p:blipFill>
              <a:blip r:embed="rId28"/>
              <a:stretch>
                <a:fillRect/>
              </a:stretch>
            </p:blipFill>
            <p:spPr>
              <a:xfrm>
                <a:off x="10560890" y="4236262"/>
                <a:ext cx="1335885" cy="306077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29">
            <p14:nvContentPartPr>
              <p14:cNvPr id="22" name="Ink 21">
                <a:extLst>
                  <a:ext uri="{FF2B5EF4-FFF2-40B4-BE49-F238E27FC236}">
                    <a16:creationId xmlns:a16="http://schemas.microsoft.com/office/drawing/2014/main" id="{66AE2C59-364C-3900-93BB-C943CF921D29}"/>
                  </a:ext>
                </a:extLst>
              </p14:cNvPr>
              <p14:cNvContentPartPr/>
              <p14:nvPr/>
            </p14:nvContentPartPr>
            <p14:xfrm>
              <a:off x="8484358" y="4264534"/>
              <a:ext cx="1715602" cy="53213"/>
            </p14:xfrm>
          </p:contentPart>
        </mc:Choice>
        <mc:Fallback xmlns="">
          <p:pic>
            <p:nvPicPr>
              <p:cNvPr id="22" name="Ink 21">
                <a:extLst>
                  <a:ext uri="{FF2B5EF4-FFF2-40B4-BE49-F238E27FC236}">
                    <a16:creationId xmlns:a16="http://schemas.microsoft.com/office/drawing/2014/main" id="{66AE2C59-364C-3900-93BB-C943CF921D29}"/>
                  </a:ext>
                </a:extLst>
              </p:cNvPr>
              <p:cNvPicPr/>
              <p:nvPr/>
            </p:nvPicPr>
            <p:blipFill>
              <a:blip r:embed="rId30"/>
              <a:stretch>
                <a:fillRect/>
              </a:stretch>
            </p:blipFill>
            <p:spPr>
              <a:xfrm>
                <a:off x="8430374" y="4157394"/>
                <a:ext cx="1823210" cy="267136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31">
            <p14:nvContentPartPr>
              <p14:cNvPr id="23" name="Ink 22">
                <a:extLst>
                  <a:ext uri="{FF2B5EF4-FFF2-40B4-BE49-F238E27FC236}">
                    <a16:creationId xmlns:a16="http://schemas.microsoft.com/office/drawing/2014/main" id="{5DDEE300-FF09-4B92-43ED-8FB99F449294}"/>
                  </a:ext>
                </a:extLst>
              </p14:cNvPr>
              <p14:cNvContentPartPr/>
              <p14:nvPr/>
            </p14:nvContentPartPr>
            <p14:xfrm>
              <a:off x="7823749" y="4561937"/>
              <a:ext cx="1409609" cy="65362"/>
            </p14:xfrm>
          </p:contentPart>
        </mc:Choice>
        <mc:Fallback xmlns="">
          <p:pic>
            <p:nvPicPr>
              <p:cNvPr id="23" name="Ink 22">
                <a:extLst>
                  <a:ext uri="{FF2B5EF4-FFF2-40B4-BE49-F238E27FC236}">
                    <a16:creationId xmlns:a16="http://schemas.microsoft.com/office/drawing/2014/main" id="{5DDEE300-FF09-4B92-43ED-8FB99F449294}"/>
                  </a:ext>
                </a:extLst>
              </p:cNvPr>
              <p:cNvPicPr/>
              <p:nvPr/>
            </p:nvPicPr>
            <p:blipFill>
              <a:blip r:embed="rId32"/>
              <a:stretch>
                <a:fillRect/>
              </a:stretch>
            </p:blipFill>
            <p:spPr>
              <a:xfrm>
                <a:off x="7769769" y="4454786"/>
                <a:ext cx="1517210" cy="279306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33">
            <p14:nvContentPartPr>
              <p14:cNvPr id="24" name="Ink 23">
                <a:extLst>
                  <a:ext uri="{FF2B5EF4-FFF2-40B4-BE49-F238E27FC236}">
                    <a16:creationId xmlns:a16="http://schemas.microsoft.com/office/drawing/2014/main" id="{43E84F04-5806-8C2D-3599-A0E4ECE54AA2}"/>
                  </a:ext>
                </a:extLst>
              </p14:cNvPr>
              <p14:cNvContentPartPr/>
              <p14:nvPr/>
            </p14:nvContentPartPr>
            <p14:xfrm>
              <a:off x="8558284" y="4656410"/>
              <a:ext cx="1824094" cy="59965"/>
            </p14:xfrm>
          </p:contentPart>
        </mc:Choice>
        <mc:Fallback xmlns="">
          <p:pic>
            <p:nvPicPr>
              <p:cNvPr id="24" name="Ink 23">
                <a:extLst>
                  <a:ext uri="{FF2B5EF4-FFF2-40B4-BE49-F238E27FC236}">
                    <a16:creationId xmlns:a16="http://schemas.microsoft.com/office/drawing/2014/main" id="{43E84F04-5806-8C2D-3599-A0E4ECE54AA2}"/>
                  </a:ext>
                </a:extLst>
              </p:cNvPr>
              <p:cNvPicPr/>
              <p:nvPr/>
            </p:nvPicPr>
            <p:blipFill>
              <a:blip r:embed="rId34"/>
              <a:stretch>
                <a:fillRect/>
              </a:stretch>
            </p:blipFill>
            <p:spPr>
              <a:xfrm>
                <a:off x="8504295" y="4548688"/>
                <a:ext cx="1931711" cy="275049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35">
            <p14:nvContentPartPr>
              <p14:cNvPr id="25" name="Ink 24">
                <a:extLst>
                  <a:ext uri="{FF2B5EF4-FFF2-40B4-BE49-F238E27FC236}">
                    <a16:creationId xmlns:a16="http://schemas.microsoft.com/office/drawing/2014/main" id="{08CDF494-A7E4-DAE2-80B4-683B67700E4A}"/>
                  </a:ext>
                </a:extLst>
              </p14:cNvPr>
              <p14:cNvContentPartPr/>
              <p14:nvPr/>
            </p14:nvContentPartPr>
            <p14:xfrm>
              <a:off x="8489958" y="4620264"/>
              <a:ext cx="144379" cy="21801"/>
            </p14:xfrm>
          </p:contentPart>
        </mc:Choice>
        <mc:Fallback xmlns="">
          <p:pic>
            <p:nvPicPr>
              <p:cNvPr id="25" name="Ink 24">
                <a:extLst>
                  <a:ext uri="{FF2B5EF4-FFF2-40B4-BE49-F238E27FC236}">
                    <a16:creationId xmlns:a16="http://schemas.microsoft.com/office/drawing/2014/main" id="{08CDF494-A7E4-DAE2-80B4-683B67700E4A}"/>
                  </a:ext>
                </a:extLst>
              </p:cNvPr>
              <p:cNvPicPr/>
              <p:nvPr/>
            </p:nvPicPr>
            <p:blipFill>
              <a:blip r:embed="rId36"/>
              <a:stretch>
                <a:fillRect/>
              </a:stretch>
            </p:blipFill>
            <p:spPr>
              <a:xfrm>
                <a:off x="8436085" y="4513046"/>
                <a:ext cx="251765" cy="23588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37">
            <p14:nvContentPartPr>
              <p14:cNvPr id="26" name="Ink 25">
                <a:extLst>
                  <a:ext uri="{FF2B5EF4-FFF2-40B4-BE49-F238E27FC236}">
                    <a16:creationId xmlns:a16="http://schemas.microsoft.com/office/drawing/2014/main" id="{9C12B5A6-1B39-0644-3F07-55CD82E0EE33}"/>
                  </a:ext>
                </a:extLst>
              </p14:cNvPr>
              <p14:cNvContentPartPr/>
              <p14:nvPr/>
            </p14:nvContentPartPr>
            <p14:xfrm>
              <a:off x="8791432" y="4787943"/>
              <a:ext cx="1462647" cy="73538"/>
            </p14:xfrm>
          </p:contentPart>
        </mc:Choice>
        <mc:Fallback xmlns="">
          <p:pic>
            <p:nvPicPr>
              <p:cNvPr id="26" name="Ink 25">
                <a:extLst>
                  <a:ext uri="{FF2B5EF4-FFF2-40B4-BE49-F238E27FC236}">
                    <a16:creationId xmlns:a16="http://schemas.microsoft.com/office/drawing/2014/main" id="{9C12B5A6-1B39-0644-3F07-55CD82E0EE33}"/>
                  </a:ext>
                </a:extLst>
              </p:cNvPr>
              <p:cNvPicPr/>
              <p:nvPr/>
            </p:nvPicPr>
            <p:blipFill>
              <a:blip r:embed="rId38"/>
              <a:stretch>
                <a:fillRect/>
              </a:stretch>
            </p:blipFill>
            <p:spPr>
              <a:xfrm>
                <a:off x="8737433" y="4680326"/>
                <a:ext cx="1570285" cy="288412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39">
            <p14:nvContentPartPr>
              <p14:cNvPr id="27" name="Ink 26">
                <a:extLst>
                  <a:ext uri="{FF2B5EF4-FFF2-40B4-BE49-F238E27FC236}">
                    <a16:creationId xmlns:a16="http://schemas.microsoft.com/office/drawing/2014/main" id="{9DF7608D-E370-D610-1218-B99A68B60710}"/>
                  </a:ext>
                </a:extLst>
              </p14:cNvPr>
              <p14:cNvContentPartPr/>
              <p14:nvPr/>
            </p14:nvContentPartPr>
            <p14:xfrm>
              <a:off x="7033558" y="4955340"/>
              <a:ext cx="577511" cy="60333"/>
            </p14:xfrm>
          </p:contentPart>
        </mc:Choice>
        <mc:Fallback xmlns="">
          <p:pic>
            <p:nvPicPr>
              <p:cNvPr id="27" name="Ink 26">
                <a:extLst>
                  <a:ext uri="{FF2B5EF4-FFF2-40B4-BE49-F238E27FC236}">
                    <a16:creationId xmlns:a16="http://schemas.microsoft.com/office/drawing/2014/main" id="{9DF7608D-E370-D610-1218-B99A68B60710}"/>
                  </a:ext>
                </a:extLst>
              </p:cNvPr>
              <p:cNvPicPr/>
              <p:nvPr/>
            </p:nvPicPr>
            <p:blipFill>
              <a:blip r:embed="rId40"/>
              <a:stretch>
                <a:fillRect/>
              </a:stretch>
            </p:blipFill>
            <p:spPr>
              <a:xfrm>
                <a:off x="6979585" y="4848240"/>
                <a:ext cx="685097" cy="274176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41">
            <p14:nvContentPartPr>
              <p14:cNvPr id="28" name="Ink 27">
                <a:extLst>
                  <a:ext uri="{FF2B5EF4-FFF2-40B4-BE49-F238E27FC236}">
                    <a16:creationId xmlns:a16="http://schemas.microsoft.com/office/drawing/2014/main" id="{854CA4E6-F4E0-1290-C048-53D37187C31E}"/>
                  </a:ext>
                </a:extLst>
              </p14:cNvPr>
              <p14:cNvContentPartPr/>
              <p14:nvPr/>
            </p14:nvContentPartPr>
            <p14:xfrm>
              <a:off x="9995052" y="5029978"/>
              <a:ext cx="1187372" cy="62745"/>
            </p14:xfrm>
          </p:contentPart>
        </mc:Choice>
        <mc:Fallback xmlns="">
          <p:pic>
            <p:nvPicPr>
              <p:cNvPr id="28" name="Ink 27">
                <a:extLst>
                  <a:ext uri="{FF2B5EF4-FFF2-40B4-BE49-F238E27FC236}">
                    <a16:creationId xmlns:a16="http://schemas.microsoft.com/office/drawing/2014/main" id="{854CA4E6-F4E0-1290-C048-53D37187C31E}"/>
                  </a:ext>
                </a:extLst>
              </p:cNvPr>
              <p:cNvPicPr/>
              <p:nvPr/>
            </p:nvPicPr>
            <p:blipFill>
              <a:blip r:embed="rId42"/>
              <a:stretch>
                <a:fillRect/>
              </a:stretch>
            </p:blipFill>
            <p:spPr>
              <a:xfrm>
                <a:off x="9941064" y="4922415"/>
                <a:ext cx="1294988" cy="277512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43">
            <p14:nvContentPartPr>
              <p14:cNvPr id="29" name="Ink 28">
                <a:extLst>
                  <a:ext uri="{FF2B5EF4-FFF2-40B4-BE49-F238E27FC236}">
                    <a16:creationId xmlns:a16="http://schemas.microsoft.com/office/drawing/2014/main" id="{BBCEC262-2C78-2A3C-6EEB-1965F3B52AF9}"/>
                  </a:ext>
                </a:extLst>
              </p14:cNvPr>
              <p14:cNvContentPartPr/>
              <p14:nvPr/>
            </p14:nvContentPartPr>
            <p14:xfrm>
              <a:off x="8455925" y="5245147"/>
              <a:ext cx="2070373" cy="54864"/>
            </p14:xfrm>
          </p:contentPart>
        </mc:Choice>
        <mc:Fallback xmlns="">
          <p:pic>
            <p:nvPicPr>
              <p:cNvPr id="29" name="Ink 28">
                <a:extLst>
                  <a:ext uri="{FF2B5EF4-FFF2-40B4-BE49-F238E27FC236}">
                    <a16:creationId xmlns:a16="http://schemas.microsoft.com/office/drawing/2014/main" id="{BBCEC262-2C78-2A3C-6EEB-1965F3B52AF9}"/>
                  </a:ext>
                </a:extLst>
              </p:cNvPr>
              <p:cNvPicPr/>
              <p:nvPr/>
            </p:nvPicPr>
            <p:blipFill>
              <a:blip r:embed="rId44"/>
              <a:stretch>
                <a:fillRect/>
              </a:stretch>
            </p:blipFill>
            <p:spPr>
              <a:xfrm>
                <a:off x="8401934" y="5138269"/>
                <a:ext cx="2177995" cy="268264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45">
            <p14:nvContentPartPr>
              <p14:cNvPr id="30" name="Ink 29">
                <a:extLst>
                  <a:ext uri="{FF2B5EF4-FFF2-40B4-BE49-F238E27FC236}">
                    <a16:creationId xmlns:a16="http://schemas.microsoft.com/office/drawing/2014/main" id="{690BD710-E6E2-C735-6394-63C89527DA21}"/>
                  </a:ext>
                </a:extLst>
              </p14:cNvPr>
              <p14:cNvContentPartPr/>
              <p14:nvPr/>
            </p14:nvContentPartPr>
            <p14:xfrm>
              <a:off x="10709626" y="5254701"/>
              <a:ext cx="1314974" cy="86158"/>
            </p14:xfrm>
          </p:contentPart>
        </mc:Choice>
        <mc:Fallback xmlns="">
          <p:pic>
            <p:nvPicPr>
              <p:cNvPr id="30" name="Ink 29">
                <a:extLst>
                  <a:ext uri="{FF2B5EF4-FFF2-40B4-BE49-F238E27FC236}">
                    <a16:creationId xmlns:a16="http://schemas.microsoft.com/office/drawing/2014/main" id="{690BD710-E6E2-C735-6394-63C89527DA21}"/>
                  </a:ext>
                </a:extLst>
              </p:cNvPr>
              <p:cNvPicPr/>
              <p:nvPr/>
            </p:nvPicPr>
            <p:blipFill>
              <a:blip r:embed="rId46"/>
              <a:stretch>
                <a:fillRect/>
              </a:stretch>
            </p:blipFill>
            <p:spPr>
              <a:xfrm>
                <a:off x="10655645" y="5147003"/>
                <a:ext cx="1422576" cy="301194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47">
            <p14:nvContentPartPr>
              <p14:cNvPr id="31" name="Ink 30">
                <a:extLst>
                  <a:ext uri="{FF2B5EF4-FFF2-40B4-BE49-F238E27FC236}">
                    <a16:creationId xmlns:a16="http://schemas.microsoft.com/office/drawing/2014/main" id="{7235DA12-0163-6530-6A16-34AA76D9561D}"/>
                  </a:ext>
                </a:extLst>
              </p14:cNvPr>
              <p14:cNvContentPartPr/>
              <p14:nvPr/>
            </p14:nvContentPartPr>
            <p14:xfrm>
              <a:off x="10583976" y="5390865"/>
              <a:ext cx="1364061" cy="70753"/>
            </p14:xfrm>
          </p:contentPart>
        </mc:Choice>
        <mc:Fallback xmlns="">
          <p:pic>
            <p:nvPicPr>
              <p:cNvPr id="31" name="Ink 30">
                <a:extLst>
                  <a:ext uri="{FF2B5EF4-FFF2-40B4-BE49-F238E27FC236}">
                    <a16:creationId xmlns:a16="http://schemas.microsoft.com/office/drawing/2014/main" id="{7235DA12-0163-6530-6A16-34AA76D9561D}"/>
                  </a:ext>
                </a:extLst>
              </p:cNvPr>
              <p:cNvPicPr/>
              <p:nvPr/>
            </p:nvPicPr>
            <p:blipFill>
              <a:blip r:embed="rId48"/>
              <a:stretch>
                <a:fillRect/>
              </a:stretch>
            </p:blipFill>
            <p:spPr>
              <a:xfrm>
                <a:off x="10529989" y="5283663"/>
                <a:ext cx="1471674" cy="284799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49">
            <p14:nvContentPartPr>
              <p14:cNvPr id="32" name="Ink 31">
                <a:extLst>
                  <a:ext uri="{FF2B5EF4-FFF2-40B4-BE49-F238E27FC236}">
                    <a16:creationId xmlns:a16="http://schemas.microsoft.com/office/drawing/2014/main" id="{971067E0-E49E-F7F9-3282-2192D77A4F43}"/>
                  </a:ext>
                </a:extLst>
              </p14:cNvPr>
              <p14:cNvContentPartPr/>
              <p14:nvPr/>
            </p14:nvContentPartPr>
            <p14:xfrm>
              <a:off x="10433884" y="5463274"/>
              <a:ext cx="1283182" cy="120934"/>
            </p14:xfrm>
          </p:contentPart>
        </mc:Choice>
        <mc:Fallback xmlns="">
          <p:pic>
            <p:nvPicPr>
              <p:cNvPr id="32" name="Ink 31">
                <a:extLst>
                  <a:ext uri="{FF2B5EF4-FFF2-40B4-BE49-F238E27FC236}">
                    <a16:creationId xmlns:a16="http://schemas.microsoft.com/office/drawing/2014/main" id="{971067E0-E49E-F7F9-3282-2192D77A4F43}"/>
                  </a:ext>
                </a:extLst>
              </p:cNvPr>
              <p:cNvPicPr/>
              <p:nvPr/>
            </p:nvPicPr>
            <p:blipFill>
              <a:blip r:embed="rId50"/>
              <a:stretch>
                <a:fillRect/>
              </a:stretch>
            </p:blipFill>
            <p:spPr>
              <a:xfrm>
                <a:off x="10379893" y="5355618"/>
                <a:ext cx="1390804" cy="335888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51">
            <p14:nvContentPartPr>
              <p14:cNvPr id="33" name="Ink 32">
                <a:extLst>
                  <a:ext uri="{FF2B5EF4-FFF2-40B4-BE49-F238E27FC236}">
                    <a16:creationId xmlns:a16="http://schemas.microsoft.com/office/drawing/2014/main" id="{A3F29EAD-EEDA-85A5-D395-E594F18A848D}"/>
                  </a:ext>
                </a:extLst>
              </p14:cNvPr>
              <p14:cNvContentPartPr/>
              <p14:nvPr/>
            </p14:nvContentPartPr>
            <p14:xfrm>
              <a:off x="10764671" y="5582443"/>
              <a:ext cx="1227365" cy="126870"/>
            </p14:xfrm>
          </p:contentPart>
        </mc:Choice>
        <mc:Fallback xmlns="">
          <p:pic>
            <p:nvPicPr>
              <p:cNvPr id="33" name="Ink 32">
                <a:extLst>
                  <a:ext uri="{FF2B5EF4-FFF2-40B4-BE49-F238E27FC236}">
                    <a16:creationId xmlns:a16="http://schemas.microsoft.com/office/drawing/2014/main" id="{A3F29EAD-EEDA-85A5-D395-E594F18A848D}"/>
                  </a:ext>
                </a:extLst>
              </p:cNvPr>
              <p:cNvPicPr/>
              <p:nvPr/>
            </p:nvPicPr>
            <p:blipFill>
              <a:blip r:embed="rId52"/>
              <a:stretch>
                <a:fillRect/>
              </a:stretch>
            </p:blipFill>
            <p:spPr>
              <a:xfrm>
                <a:off x="10710681" y="5474926"/>
                <a:ext cx="1334984" cy="341546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53">
            <p14:nvContentPartPr>
              <p14:cNvPr id="34" name="Ink 33">
                <a:extLst>
                  <a:ext uri="{FF2B5EF4-FFF2-40B4-BE49-F238E27FC236}">
                    <a16:creationId xmlns:a16="http://schemas.microsoft.com/office/drawing/2014/main" id="{0650C86D-7AD1-5C64-014F-D00FFC41B3C6}"/>
                  </a:ext>
                </a:extLst>
              </p14:cNvPr>
              <p14:cNvContentPartPr/>
              <p14:nvPr/>
            </p14:nvContentPartPr>
            <p14:xfrm>
              <a:off x="10673686" y="5765914"/>
              <a:ext cx="1159073" cy="131055"/>
            </p14:xfrm>
          </p:contentPart>
        </mc:Choice>
        <mc:Fallback xmlns="">
          <p:pic>
            <p:nvPicPr>
              <p:cNvPr id="34" name="Ink 33">
                <a:extLst>
                  <a:ext uri="{FF2B5EF4-FFF2-40B4-BE49-F238E27FC236}">
                    <a16:creationId xmlns:a16="http://schemas.microsoft.com/office/drawing/2014/main" id="{0650C86D-7AD1-5C64-014F-D00FFC41B3C6}"/>
                  </a:ext>
                </a:extLst>
              </p:cNvPr>
              <p:cNvPicPr/>
              <p:nvPr/>
            </p:nvPicPr>
            <p:blipFill>
              <a:blip r:embed="rId54"/>
              <a:stretch>
                <a:fillRect/>
              </a:stretch>
            </p:blipFill>
            <p:spPr>
              <a:xfrm>
                <a:off x="10619709" y="5658198"/>
                <a:ext cx="1266668" cy="346129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55">
            <p14:nvContentPartPr>
              <p14:cNvPr id="35" name="Ink 34">
                <a:extLst>
                  <a:ext uri="{FF2B5EF4-FFF2-40B4-BE49-F238E27FC236}">
                    <a16:creationId xmlns:a16="http://schemas.microsoft.com/office/drawing/2014/main" id="{A591C7D8-998C-2E6B-0054-B8867F5BB36F}"/>
                  </a:ext>
                </a:extLst>
              </p14:cNvPr>
              <p14:cNvContentPartPr/>
              <p14:nvPr/>
            </p14:nvContentPartPr>
            <p14:xfrm>
              <a:off x="6213580" y="3243290"/>
              <a:ext cx="990424" cy="73655"/>
            </p14:xfrm>
          </p:contentPart>
        </mc:Choice>
        <mc:Fallback xmlns="">
          <p:pic>
            <p:nvPicPr>
              <p:cNvPr id="35" name="Ink 34">
                <a:extLst>
                  <a:ext uri="{FF2B5EF4-FFF2-40B4-BE49-F238E27FC236}">
                    <a16:creationId xmlns:a16="http://schemas.microsoft.com/office/drawing/2014/main" id="{A591C7D8-998C-2E6B-0054-B8867F5BB36F}"/>
                  </a:ext>
                </a:extLst>
              </p:cNvPr>
              <p:cNvPicPr/>
              <p:nvPr/>
            </p:nvPicPr>
            <p:blipFill>
              <a:blip r:embed="rId56"/>
              <a:stretch>
                <a:fillRect/>
              </a:stretch>
            </p:blipFill>
            <p:spPr>
              <a:xfrm>
                <a:off x="6159616" y="3136025"/>
                <a:ext cx="1097993" cy="287827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57">
            <p14:nvContentPartPr>
              <p14:cNvPr id="36" name="Ink 35">
                <a:extLst>
                  <a:ext uri="{FF2B5EF4-FFF2-40B4-BE49-F238E27FC236}">
                    <a16:creationId xmlns:a16="http://schemas.microsoft.com/office/drawing/2014/main" id="{168F1591-2E54-ABB5-B3D0-23A5A392186E}"/>
                  </a:ext>
                </a:extLst>
              </p14:cNvPr>
              <p14:cNvContentPartPr/>
              <p14:nvPr/>
            </p14:nvContentPartPr>
            <p14:xfrm>
              <a:off x="6222808" y="3316487"/>
              <a:ext cx="2282239" cy="244148"/>
            </p14:xfrm>
          </p:contentPart>
        </mc:Choice>
        <mc:Fallback xmlns="">
          <p:pic>
            <p:nvPicPr>
              <p:cNvPr id="36" name="Ink 35">
                <a:extLst>
                  <a:ext uri="{FF2B5EF4-FFF2-40B4-BE49-F238E27FC236}">
                    <a16:creationId xmlns:a16="http://schemas.microsoft.com/office/drawing/2014/main" id="{168F1591-2E54-ABB5-B3D0-23A5A392186E}"/>
                  </a:ext>
                </a:extLst>
              </p:cNvPr>
              <p:cNvPicPr/>
              <p:nvPr/>
            </p:nvPicPr>
            <p:blipFill>
              <a:blip r:embed="rId58"/>
              <a:stretch>
                <a:fillRect/>
              </a:stretch>
            </p:blipFill>
            <p:spPr>
              <a:xfrm>
                <a:off x="6168820" y="3208616"/>
                <a:ext cx="2389854" cy="45953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59">
            <p14:nvContentPartPr>
              <p14:cNvPr id="37" name="Ink 36">
                <a:extLst>
                  <a:ext uri="{FF2B5EF4-FFF2-40B4-BE49-F238E27FC236}">
                    <a16:creationId xmlns:a16="http://schemas.microsoft.com/office/drawing/2014/main" id="{0F183169-6771-ADF8-5F83-BF08F33EE797}"/>
                  </a:ext>
                </a:extLst>
              </p14:cNvPr>
              <p14:cNvContentPartPr/>
              <p14:nvPr/>
            </p14:nvContentPartPr>
            <p14:xfrm>
              <a:off x="6146485" y="3442097"/>
              <a:ext cx="2603571" cy="103205"/>
            </p14:xfrm>
          </p:contentPart>
        </mc:Choice>
        <mc:Fallback xmlns="">
          <p:pic>
            <p:nvPicPr>
              <p:cNvPr id="37" name="Ink 36">
                <a:extLst>
                  <a:ext uri="{FF2B5EF4-FFF2-40B4-BE49-F238E27FC236}">
                    <a16:creationId xmlns:a16="http://schemas.microsoft.com/office/drawing/2014/main" id="{0F183169-6771-ADF8-5F83-BF08F33EE797}"/>
                  </a:ext>
                </a:extLst>
              </p:cNvPr>
              <p:cNvPicPr/>
              <p:nvPr/>
            </p:nvPicPr>
            <p:blipFill>
              <a:blip r:embed="rId60"/>
              <a:stretch>
                <a:fillRect/>
              </a:stretch>
            </p:blipFill>
            <p:spPr>
              <a:xfrm>
                <a:off x="6092499" y="3334592"/>
                <a:ext cx="2711183" cy="317857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61">
            <p14:nvContentPartPr>
              <p14:cNvPr id="38" name="Ink 37">
                <a:extLst>
                  <a:ext uri="{FF2B5EF4-FFF2-40B4-BE49-F238E27FC236}">
                    <a16:creationId xmlns:a16="http://schemas.microsoft.com/office/drawing/2014/main" id="{9EC1BA98-AD5F-5578-8900-EFD1FEB61B1C}"/>
                  </a:ext>
                </a:extLst>
              </p14:cNvPr>
              <p14:cNvContentPartPr/>
              <p14:nvPr/>
            </p14:nvContentPartPr>
            <p14:xfrm>
              <a:off x="6179407" y="3701225"/>
              <a:ext cx="1970719" cy="565845"/>
            </p14:xfrm>
          </p:contentPart>
        </mc:Choice>
        <mc:Fallback xmlns="">
          <p:pic>
            <p:nvPicPr>
              <p:cNvPr id="38" name="Ink 37">
                <a:extLst>
                  <a:ext uri="{FF2B5EF4-FFF2-40B4-BE49-F238E27FC236}">
                    <a16:creationId xmlns:a16="http://schemas.microsoft.com/office/drawing/2014/main" id="{9EC1BA98-AD5F-5578-8900-EFD1FEB61B1C}"/>
                  </a:ext>
                </a:extLst>
              </p:cNvPr>
              <p:cNvPicPr/>
              <p:nvPr/>
            </p:nvPicPr>
            <p:blipFill>
              <a:blip r:embed="rId62"/>
              <a:stretch>
                <a:fillRect/>
              </a:stretch>
            </p:blipFill>
            <p:spPr>
              <a:xfrm>
                <a:off x="6125415" y="3593239"/>
                <a:ext cx="2078344" cy="781456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63">
            <p14:nvContentPartPr>
              <p14:cNvPr id="39" name="Ink 38">
                <a:extLst>
                  <a:ext uri="{FF2B5EF4-FFF2-40B4-BE49-F238E27FC236}">
                    <a16:creationId xmlns:a16="http://schemas.microsoft.com/office/drawing/2014/main" id="{A793EDB0-3F2A-77A3-C77F-24262FF9412A}"/>
                  </a:ext>
                </a:extLst>
              </p14:cNvPr>
              <p14:cNvContentPartPr/>
              <p14:nvPr/>
            </p14:nvContentPartPr>
            <p14:xfrm>
              <a:off x="6209089" y="4001167"/>
              <a:ext cx="2087611" cy="651032"/>
            </p14:xfrm>
          </p:contentPart>
        </mc:Choice>
        <mc:Fallback xmlns="">
          <p:pic>
            <p:nvPicPr>
              <p:cNvPr id="39" name="Ink 38">
                <a:extLst>
                  <a:ext uri="{FF2B5EF4-FFF2-40B4-BE49-F238E27FC236}">
                    <a16:creationId xmlns:a16="http://schemas.microsoft.com/office/drawing/2014/main" id="{A793EDB0-3F2A-77A3-C77F-24262FF9412A}"/>
                  </a:ext>
                </a:extLst>
              </p:cNvPr>
              <p:cNvPicPr/>
              <p:nvPr/>
            </p:nvPicPr>
            <p:blipFill>
              <a:blip r:embed="rId64"/>
              <a:stretch>
                <a:fillRect/>
              </a:stretch>
            </p:blipFill>
            <p:spPr>
              <a:xfrm>
                <a:off x="6155099" y="3893261"/>
                <a:ext cx="2195231" cy="866484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65">
            <p14:nvContentPartPr>
              <p14:cNvPr id="40" name="Ink 39">
                <a:extLst>
                  <a:ext uri="{FF2B5EF4-FFF2-40B4-BE49-F238E27FC236}">
                    <a16:creationId xmlns:a16="http://schemas.microsoft.com/office/drawing/2014/main" id="{ADEBEB0A-BD1F-ACCA-389E-7029C55B7BDF}"/>
                  </a:ext>
                </a:extLst>
              </p14:cNvPr>
              <p14:cNvContentPartPr/>
              <p14:nvPr/>
            </p14:nvContentPartPr>
            <p14:xfrm>
              <a:off x="6180714" y="4424149"/>
              <a:ext cx="344646" cy="1362174"/>
            </p14:xfrm>
          </p:contentPart>
        </mc:Choice>
        <mc:Fallback xmlns="">
          <p:pic>
            <p:nvPicPr>
              <p:cNvPr id="40" name="Ink 39">
                <a:extLst>
                  <a:ext uri="{FF2B5EF4-FFF2-40B4-BE49-F238E27FC236}">
                    <a16:creationId xmlns:a16="http://schemas.microsoft.com/office/drawing/2014/main" id="{ADEBEB0A-BD1F-ACCA-389E-7029C55B7BDF}"/>
                  </a:ext>
                </a:extLst>
              </p:cNvPr>
              <p:cNvPicPr/>
              <p:nvPr/>
            </p:nvPicPr>
            <p:blipFill>
              <a:blip r:embed="rId66"/>
              <a:stretch>
                <a:fillRect/>
              </a:stretch>
            </p:blipFill>
            <p:spPr>
              <a:xfrm>
                <a:off x="6126751" y="4316154"/>
                <a:ext cx="452213" cy="1577804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67">
            <p14:nvContentPartPr>
              <p14:cNvPr id="41" name="Ink 40">
                <a:extLst>
                  <a:ext uri="{FF2B5EF4-FFF2-40B4-BE49-F238E27FC236}">
                    <a16:creationId xmlns:a16="http://schemas.microsoft.com/office/drawing/2014/main" id="{71B5F18F-8C37-A21F-B9D1-B82CFD95994F}"/>
                  </a:ext>
                </a:extLst>
              </p14:cNvPr>
              <p14:cNvContentPartPr/>
              <p14:nvPr/>
            </p14:nvContentPartPr>
            <p14:xfrm>
              <a:off x="6204044" y="5013026"/>
              <a:ext cx="4512301" cy="909736"/>
            </p14:xfrm>
          </p:contentPart>
        </mc:Choice>
        <mc:Fallback xmlns="">
          <p:pic>
            <p:nvPicPr>
              <p:cNvPr id="41" name="Ink 40">
                <a:extLst>
                  <a:ext uri="{FF2B5EF4-FFF2-40B4-BE49-F238E27FC236}">
                    <a16:creationId xmlns:a16="http://schemas.microsoft.com/office/drawing/2014/main" id="{71B5F18F-8C37-A21F-B9D1-B82CFD95994F}"/>
                  </a:ext>
                </a:extLst>
              </p:cNvPr>
              <p:cNvPicPr/>
              <p:nvPr/>
            </p:nvPicPr>
            <p:blipFill>
              <a:blip r:embed="rId68"/>
              <a:stretch>
                <a:fillRect/>
              </a:stretch>
            </p:blipFill>
            <p:spPr>
              <a:xfrm>
                <a:off x="6150048" y="4905110"/>
                <a:ext cx="4619934" cy="1125209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69">
            <p14:nvContentPartPr>
              <p14:cNvPr id="42" name="Ink 41">
                <a:extLst>
                  <a:ext uri="{FF2B5EF4-FFF2-40B4-BE49-F238E27FC236}">
                    <a16:creationId xmlns:a16="http://schemas.microsoft.com/office/drawing/2014/main" id="{B6E2E2F7-04A9-6FBF-18A0-782692501155}"/>
                  </a:ext>
                </a:extLst>
              </p14:cNvPr>
              <p14:cNvContentPartPr/>
              <p14:nvPr/>
            </p14:nvContentPartPr>
            <p14:xfrm>
              <a:off x="6229430" y="4308518"/>
              <a:ext cx="2567354" cy="952056"/>
            </p14:xfrm>
          </p:contentPart>
        </mc:Choice>
        <mc:Fallback xmlns="">
          <p:pic>
            <p:nvPicPr>
              <p:cNvPr id="42" name="Ink 41">
                <a:extLst>
                  <a:ext uri="{FF2B5EF4-FFF2-40B4-BE49-F238E27FC236}">
                    <a16:creationId xmlns:a16="http://schemas.microsoft.com/office/drawing/2014/main" id="{B6E2E2F7-04A9-6FBF-18A0-782692501155}"/>
                  </a:ext>
                </a:extLst>
              </p:cNvPr>
              <p:cNvPicPr/>
              <p:nvPr/>
            </p:nvPicPr>
            <p:blipFill>
              <a:blip r:embed="rId70"/>
              <a:stretch>
                <a:fillRect/>
              </a:stretch>
            </p:blipFill>
            <p:spPr>
              <a:xfrm>
                <a:off x="6175441" y="4200575"/>
                <a:ext cx="2674972" cy="1167582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71">
            <p14:nvContentPartPr>
              <p14:cNvPr id="43" name="Ink 42">
                <a:extLst>
                  <a:ext uri="{FF2B5EF4-FFF2-40B4-BE49-F238E27FC236}">
                    <a16:creationId xmlns:a16="http://schemas.microsoft.com/office/drawing/2014/main" id="{E4CA5D1F-BE25-DAF9-28CA-6969791EF7F1}"/>
                  </a:ext>
                </a:extLst>
              </p14:cNvPr>
              <p14:cNvContentPartPr/>
              <p14:nvPr/>
            </p14:nvContentPartPr>
            <p14:xfrm>
              <a:off x="7966880" y="4407089"/>
              <a:ext cx="2562002" cy="103012"/>
            </p14:xfrm>
          </p:contentPart>
        </mc:Choice>
        <mc:Fallback xmlns="">
          <p:pic>
            <p:nvPicPr>
              <p:cNvPr id="43" name="Ink 42">
                <a:extLst>
                  <a:ext uri="{FF2B5EF4-FFF2-40B4-BE49-F238E27FC236}">
                    <a16:creationId xmlns:a16="http://schemas.microsoft.com/office/drawing/2014/main" id="{E4CA5D1F-BE25-DAF9-28CA-6969791EF7F1}"/>
                  </a:ext>
                </a:extLst>
              </p:cNvPr>
              <p:cNvPicPr/>
              <p:nvPr/>
            </p:nvPicPr>
            <p:blipFill>
              <a:blip r:embed="rId72"/>
              <a:stretch>
                <a:fillRect/>
              </a:stretch>
            </p:blipFill>
            <p:spPr>
              <a:xfrm>
                <a:off x="7912890" y="4299411"/>
                <a:ext cx="2669622" cy="318009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73">
            <p14:nvContentPartPr>
              <p14:cNvPr id="44" name="Ink 43">
                <a:extLst>
                  <a:ext uri="{FF2B5EF4-FFF2-40B4-BE49-F238E27FC236}">
                    <a16:creationId xmlns:a16="http://schemas.microsoft.com/office/drawing/2014/main" id="{4CCF324B-4E14-A749-B4B7-521CE8A33B80}"/>
                  </a:ext>
                </a:extLst>
              </p14:cNvPr>
              <p14:cNvContentPartPr/>
              <p14:nvPr/>
            </p14:nvContentPartPr>
            <p14:xfrm>
              <a:off x="8425559" y="4094564"/>
              <a:ext cx="2080850" cy="81556"/>
            </p14:xfrm>
          </p:contentPart>
        </mc:Choice>
        <mc:Fallback xmlns="">
          <p:pic>
            <p:nvPicPr>
              <p:cNvPr id="44" name="Ink 43">
                <a:extLst>
                  <a:ext uri="{FF2B5EF4-FFF2-40B4-BE49-F238E27FC236}">
                    <a16:creationId xmlns:a16="http://schemas.microsoft.com/office/drawing/2014/main" id="{4CCF324B-4E14-A749-B4B7-521CE8A33B80}"/>
                  </a:ext>
                </a:extLst>
              </p:cNvPr>
              <p:cNvPicPr/>
              <p:nvPr/>
            </p:nvPicPr>
            <p:blipFill>
              <a:blip r:embed="rId74"/>
              <a:stretch>
                <a:fillRect/>
              </a:stretch>
            </p:blipFill>
            <p:spPr>
              <a:xfrm>
                <a:off x="8371576" y="3986781"/>
                <a:ext cx="2188455" cy="296763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75">
            <p14:nvContentPartPr>
              <p14:cNvPr id="45" name="Ink 44">
                <a:extLst>
                  <a:ext uri="{FF2B5EF4-FFF2-40B4-BE49-F238E27FC236}">
                    <a16:creationId xmlns:a16="http://schemas.microsoft.com/office/drawing/2014/main" id="{CF077F9D-C514-C6EE-EADD-4013E1162141}"/>
                  </a:ext>
                </a:extLst>
              </p14:cNvPr>
              <p14:cNvContentPartPr/>
              <p14:nvPr/>
            </p14:nvContentPartPr>
            <p14:xfrm>
              <a:off x="8555383" y="4239278"/>
              <a:ext cx="426448" cy="37233"/>
            </p14:xfrm>
          </p:contentPart>
        </mc:Choice>
        <mc:Fallback xmlns="">
          <p:pic>
            <p:nvPicPr>
              <p:cNvPr id="45" name="Ink 44">
                <a:extLst>
                  <a:ext uri="{FF2B5EF4-FFF2-40B4-BE49-F238E27FC236}">
                    <a16:creationId xmlns:a16="http://schemas.microsoft.com/office/drawing/2014/main" id="{CF077F9D-C514-C6EE-EADD-4013E1162141}"/>
                  </a:ext>
                </a:extLst>
              </p:cNvPr>
              <p:cNvPicPr/>
              <p:nvPr/>
            </p:nvPicPr>
            <p:blipFill>
              <a:blip r:embed="rId76"/>
              <a:stretch>
                <a:fillRect/>
              </a:stretch>
            </p:blipFill>
            <p:spPr>
              <a:xfrm>
                <a:off x="8501448" y="4132898"/>
                <a:ext cx="533959" cy="249638"/>
              </a:xfrm>
              <a:prstGeom prst="rect">
                <a:avLst/>
              </a:prstGeom>
            </p:spPr>
          </p:pic>
        </mc:Fallback>
      </mc:AlternateContent>
      <p:sp>
        <p:nvSpPr>
          <p:cNvPr id="48" name="Oval 47">
            <a:extLst>
              <a:ext uri="{FF2B5EF4-FFF2-40B4-BE49-F238E27FC236}">
                <a16:creationId xmlns:a16="http://schemas.microsoft.com/office/drawing/2014/main" id="{B7CBBA0B-B47B-D50D-6A16-C1C54B4B3835}"/>
              </a:ext>
            </a:extLst>
          </p:cNvPr>
          <p:cNvSpPr/>
          <p:nvPr/>
        </p:nvSpPr>
        <p:spPr>
          <a:xfrm>
            <a:off x="353961" y="3008670"/>
            <a:ext cx="299884" cy="312175"/>
          </a:xfrm>
          <a:prstGeom prst="ellipse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49" name="Oval 48">
            <a:extLst>
              <a:ext uri="{FF2B5EF4-FFF2-40B4-BE49-F238E27FC236}">
                <a16:creationId xmlns:a16="http://schemas.microsoft.com/office/drawing/2014/main" id="{EA48FF78-5F96-9A52-F099-320E4509A9A0}"/>
              </a:ext>
            </a:extLst>
          </p:cNvPr>
          <p:cNvSpPr/>
          <p:nvPr/>
        </p:nvSpPr>
        <p:spPr>
          <a:xfrm>
            <a:off x="353960" y="4483508"/>
            <a:ext cx="299884" cy="312175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F0000"/>
              </a:solidFill>
              <a:highlight>
                <a:srgbClr val="FF0000"/>
              </a:highlight>
              <a:cs typeface="Arial"/>
            </a:endParaRPr>
          </a:p>
        </p:txBody>
      </p:sp>
      <p:sp>
        <p:nvSpPr>
          <p:cNvPr id="50" name="Oval 49">
            <a:extLst>
              <a:ext uri="{FF2B5EF4-FFF2-40B4-BE49-F238E27FC236}">
                <a16:creationId xmlns:a16="http://schemas.microsoft.com/office/drawing/2014/main" id="{C2206155-BCFF-EFCF-D7A5-544C1CBA2238}"/>
              </a:ext>
            </a:extLst>
          </p:cNvPr>
          <p:cNvSpPr/>
          <p:nvPr/>
        </p:nvSpPr>
        <p:spPr>
          <a:xfrm>
            <a:off x="353960" y="5239363"/>
            <a:ext cx="299884" cy="312175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51" name="Oval 50">
            <a:extLst>
              <a:ext uri="{FF2B5EF4-FFF2-40B4-BE49-F238E27FC236}">
                <a16:creationId xmlns:a16="http://schemas.microsoft.com/office/drawing/2014/main" id="{51721F96-91CE-2581-BDAE-372531F6D2B0}"/>
              </a:ext>
            </a:extLst>
          </p:cNvPr>
          <p:cNvSpPr/>
          <p:nvPr/>
        </p:nvSpPr>
        <p:spPr>
          <a:xfrm>
            <a:off x="353961" y="5921476"/>
            <a:ext cx="299884" cy="312175"/>
          </a:xfrm>
          <a:prstGeom prst="ellipse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316403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B4A332A-0438-519F-4F62-2071DDB4FD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6401" y="6515213"/>
            <a:ext cx="8813273" cy="216000"/>
          </a:xfrm>
        </p:spPr>
        <p:txBody>
          <a:bodyPr anchor="t">
            <a:normAutofit/>
          </a:bodyPr>
          <a:lstStyle/>
          <a:p>
            <a:pPr>
              <a:spcAft>
                <a:spcPts val="600"/>
              </a:spcAft>
            </a:pPr>
            <a:r>
              <a:rPr lang="de-DE"/>
              <a:t>Oliver Daub Dennis Stehle und Robin Starkl | Pylint Workshop | WIN | WiSe 22/3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272DBFBF-0C3A-F61B-A357-C50BD6C527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883778" y="6515213"/>
            <a:ext cx="1899711" cy="216000"/>
          </a:xfrm>
        </p:spPr>
        <p:txBody>
          <a:bodyPr anchor="t">
            <a:normAutofit/>
          </a:bodyPr>
          <a:lstStyle/>
          <a:p>
            <a:pPr>
              <a:spcAft>
                <a:spcPts val="600"/>
              </a:spcAft>
            </a:pPr>
            <a:r>
              <a:rPr lang="de-DE"/>
              <a:t>|  </a:t>
            </a:r>
            <a:fld id="{E6B5151A-17C4-4431-8407-112C0160A8B6}" type="slidenum">
              <a:rPr lang="de-DE" smtClean="0"/>
              <a:pPr>
                <a:spcAft>
                  <a:spcPts val="600"/>
                </a:spcAft>
              </a:pPr>
              <a:t>9</a:t>
            </a:fld>
            <a:endParaRPr lang="de-DE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56FD4F9C-7EA2-B949-8EE8-8112F3A860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6405" y="898525"/>
            <a:ext cx="11377084" cy="863600"/>
          </a:xfrm>
        </p:spPr>
        <p:txBody>
          <a:bodyPr anchor="t">
            <a:normAutofit/>
          </a:bodyPr>
          <a:lstStyle/>
          <a:p>
            <a:r>
              <a:rPr lang="de-DE"/>
              <a:t>Aufgabe 1 – </a:t>
            </a:r>
            <a:r>
              <a:rPr lang="de-DE" err="1"/>
              <a:t>Pylint</a:t>
            </a:r>
            <a:r>
              <a:rPr lang="de-DE"/>
              <a:t> ausführen</a:t>
            </a:r>
            <a:endParaRPr lang="en-US"/>
          </a:p>
        </p:txBody>
      </p:sp>
      <p:sp>
        <p:nvSpPr>
          <p:cNvPr id="12" name="Content Placeholder 4">
            <a:extLst>
              <a:ext uri="{FF2B5EF4-FFF2-40B4-BE49-F238E27FC236}">
                <a16:creationId xmlns:a16="http://schemas.microsoft.com/office/drawing/2014/main" id="{7180B4F0-FEAF-C77A-2B5D-2094473840C6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06405" y="2033591"/>
            <a:ext cx="11377084" cy="4210049"/>
          </a:xfrm>
        </p:spPr>
        <p:txBody>
          <a:bodyPr/>
          <a:lstStyle/>
          <a:p>
            <a:pPr>
              <a:spcAft>
                <a:spcPts val="1998"/>
              </a:spcAft>
            </a:pPr>
            <a:r>
              <a:rPr lang="en-US" sz="2200" err="1">
                <a:ea typeface="+mn-lt"/>
                <a:cs typeface="+mn-lt"/>
              </a:rPr>
              <a:t>Führt</a:t>
            </a:r>
            <a:r>
              <a:rPr lang="en-US" sz="2200">
                <a:ea typeface="+mn-lt"/>
                <a:cs typeface="+mn-lt"/>
              </a:rPr>
              <a:t> </a:t>
            </a:r>
            <a:r>
              <a:rPr lang="en-US" sz="2200" err="1">
                <a:ea typeface="+mn-lt"/>
                <a:cs typeface="+mn-lt"/>
              </a:rPr>
              <a:t>Pylint</a:t>
            </a:r>
            <a:r>
              <a:rPr lang="en-US" sz="2200">
                <a:ea typeface="+mn-lt"/>
                <a:cs typeface="+mn-lt"/>
              </a:rPr>
              <a:t> </a:t>
            </a:r>
            <a:r>
              <a:rPr lang="en-US" sz="2200" err="1">
                <a:ea typeface="+mn-lt"/>
                <a:cs typeface="+mn-lt"/>
              </a:rPr>
              <a:t>nochmals</a:t>
            </a:r>
            <a:r>
              <a:rPr lang="en-US" sz="2200">
                <a:ea typeface="+mn-lt"/>
                <a:cs typeface="+mn-lt"/>
              </a:rPr>
              <a:t> auf </a:t>
            </a:r>
            <a:r>
              <a:rPr lang="en-US" sz="2200" err="1">
                <a:ea typeface="+mn-lt"/>
                <a:cs typeface="+mn-lt"/>
              </a:rPr>
              <a:t>euren</a:t>
            </a:r>
            <a:r>
              <a:rPr lang="en-US" sz="2200">
                <a:ea typeface="+mn-lt"/>
                <a:cs typeface="+mn-lt"/>
              </a:rPr>
              <a:t> Code </a:t>
            </a:r>
            <a:r>
              <a:rPr lang="en-US" sz="2200" err="1">
                <a:ea typeface="+mn-lt"/>
                <a:cs typeface="+mn-lt"/>
              </a:rPr>
              <a:t>aus.</a:t>
            </a:r>
            <a:r>
              <a:rPr lang="en-US" sz="2200">
                <a:ea typeface="+mn-lt"/>
                <a:cs typeface="+mn-lt"/>
              </a:rPr>
              <a:t> </a:t>
            </a:r>
            <a:r>
              <a:rPr lang="en-US" sz="2200" err="1">
                <a:ea typeface="+mn-lt"/>
                <a:cs typeface="+mn-lt"/>
              </a:rPr>
              <a:t>Diesmal</a:t>
            </a:r>
            <a:r>
              <a:rPr lang="en-US" sz="2200">
                <a:ea typeface="+mn-lt"/>
                <a:cs typeface="+mn-lt"/>
              </a:rPr>
              <a:t> </a:t>
            </a:r>
            <a:r>
              <a:rPr lang="en-US" sz="2200" err="1">
                <a:ea typeface="+mn-lt"/>
                <a:cs typeface="+mn-lt"/>
              </a:rPr>
              <a:t>ändert</a:t>
            </a:r>
            <a:r>
              <a:rPr lang="en-US" sz="2200">
                <a:ea typeface="+mn-lt"/>
                <a:cs typeface="+mn-lt"/>
              </a:rPr>
              <a:t> </a:t>
            </a:r>
            <a:r>
              <a:rPr lang="en-US" sz="2200" err="1">
                <a:ea typeface="+mn-lt"/>
                <a:cs typeface="+mn-lt"/>
              </a:rPr>
              <a:t>jedoch</a:t>
            </a:r>
            <a:r>
              <a:rPr lang="en-US" sz="2200">
                <a:ea typeface="+mn-lt"/>
                <a:cs typeface="+mn-lt"/>
              </a:rPr>
              <a:t> das Output-format </a:t>
            </a:r>
            <a:r>
              <a:rPr lang="en-US" sz="2200" err="1">
                <a:ea typeface="+mn-lt"/>
                <a:cs typeface="+mn-lt"/>
              </a:rPr>
              <a:t>zu</a:t>
            </a:r>
            <a:r>
              <a:rPr lang="en-US" sz="2200">
                <a:ea typeface="+mn-lt"/>
                <a:cs typeface="+mn-lt"/>
              </a:rPr>
              <a:t> Json </a:t>
            </a:r>
            <a:r>
              <a:rPr lang="en-US" sz="2200" err="1">
                <a:ea typeface="+mn-lt"/>
                <a:cs typeface="+mn-lt"/>
              </a:rPr>
              <a:t>mithilfe</a:t>
            </a:r>
            <a:r>
              <a:rPr lang="en-US" sz="2200">
                <a:ea typeface="+mn-lt"/>
                <a:cs typeface="+mn-lt"/>
              </a:rPr>
              <a:t> des </a:t>
            </a:r>
            <a:r>
              <a:rPr lang="en-US" sz="2200" err="1">
                <a:ea typeface="+mn-lt"/>
                <a:cs typeface="+mn-lt"/>
              </a:rPr>
              <a:t>Befehls</a:t>
            </a:r>
            <a:r>
              <a:rPr lang="en-US" sz="2200">
                <a:ea typeface="+mn-lt"/>
                <a:cs typeface="+mn-lt"/>
              </a:rPr>
              <a:t> "--output-format=&lt;format&gt;"</a:t>
            </a:r>
            <a:br>
              <a:rPr lang="en-US" sz="2200">
                <a:ea typeface="+mn-lt"/>
                <a:cs typeface="+mn-lt"/>
              </a:rPr>
            </a:br>
            <a:r>
              <a:rPr lang="en-US" sz="2200">
                <a:ea typeface="+mn-lt"/>
                <a:cs typeface="+mn-lt"/>
              </a:rPr>
              <a:t>--&gt; Symbol, Massage und Massage-id </a:t>
            </a:r>
            <a:r>
              <a:rPr lang="en-US" sz="2200" err="1">
                <a:ea typeface="+mn-lt"/>
                <a:cs typeface="+mn-lt"/>
              </a:rPr>
              <a:t>sind</a:t>
            </a:r>
            <a:r>
              <a:rPr lang="en-US" sz="2200">
                <a:ea typeface="+mn-lt"/>
                <a:cs typeface="+mn-lt"/>
              </a:rPr>
              <a:t> die </a:t>
            </a:r>
            <a:r>
              <a:rPr lang="en-US" sz="2200" err="1">
                <a:ea typeface="+mn-lt"/>
                <a:cs typeface="+mn-lt"/>
              </a:rPr>
              <a:t>wichtigsten</a:t>
            </a:r>
            <a:r>
              <a:rPr lang="en-US" sz="2200">
                <a:ea typeface="+mn-lt"/>
                <a:cs typeface="+mn-lt"/>
              </a:rPr>
              <a:t> </a:t>
            </a:r>
            <a:r>
              <a:rPr lang="en-US" sz="2200" err="1">
                <a:ea typeface="+mn-lt"/>
                <a:cs typeface="+mn-lt"/>
              </a:rPr>
              <a:t>Elemente</a:t>
            </a:r>
            <a:endParaRPr lang="en-US" err="1"/>
          </a:p>
          <a:p>
            <a:pPr marL="342900" indent="-342900">
              <a:spcAft>
                <a:spcPts val="1998"/>
              </a:spcAft>
              <a:buChar char="•"/>
            </a:pPr>
            <a:r>
              <a:rPr lang="en-US" sz="2200" err="1">
                <a:cs typeface="Arial"/>
              </a:rPr>
              <a:t>Zeilen</a:t>
            </a:r>
            <a:r>
              <a:rPr lang="en-US" sz="2200">
                <a:cs typeface="Arial"/>
              </a:rPr>
              <a:t>, in </a:t>
            </a:r>
            <a:r>
              <a:rPr lang="en-US" sz="2200" err="1">
                <a:cs typeface="Arial"/>
              </a:rPr>
              <a:t>denen</a:t>
            </a:r>
            <a:r>
              <a:rPr lang="en-US" sz="2200">
                <a:cs typeface="Arial"/>
              </a:rPr>
              <a:t> die </a:t>
            </a:r>
            <a:r>
              <a:rPr lang="en-US" sz="2200" err="1">
                <a:cs typeface="Arial"/>
              </a:rPr>
              <a:t>Rückmeldung</a:t>
            </a:r>
            <a:r>
              <a:rPr lang="en-US" sz="2200">
                <a:cs typeface="Arial"/>
              </a:rPr>
              <a:t> </a:t>
            </a:r>
            <a:br>
              <a:rPr lang="en-US" sz="2200">
                <a:cs typeface="Arial"/>
              </a:rPr>
            </a:br>
            <a:r>
              <a:rPr lang="en-US" sz="2200" err="1">
                <a:cs typeface="Arial"/>
              </a:rPr>
              <a:t>zutrifft</a:t>
            </a:r>
            <a:br>
              <a:rPr lang="en-US" sz="2200">
                <a:cs typeface="Arial"/>
              </a:rPr>
            </a:br>
            <a:br>
              <a:rPr lang="en-US" sz="2200">
                <a:cs typeface="Arial"/>
              </a:rPr>
            </a:br>
            <a:r>
              <a:rPr lang="en-US" sz="2200">
                <a:cs typeface="Arial"/>
              </a:rPr>
              <a:t>Message-ID</a:t>
            </a:r>
            <a:br>
              <a:rPr lang="en-US" sz="2200">
                <a:cs typeface="Arial"/>
              </a:rPr>
            </a:br>
            <a:br>
              <a:rPr lang="en-US" sz="2200">
                <a:cs typeface="Arial"/>
              </a:rPr>
            </a:br>
            <a:r>
              <a:rPr lang="en-US" sz="2200">
                <a:cs typeface="Arial"/>
              </a:rPr>
              <a:t>Message</a:t>
            </a:r>
            <a:br>
              <a:rPr lang="en-US" sz="2200">
                <a:cs typeface="Arial"/>
              </a:rPr>
            </a:br>
            <a:br>
              <a:rPr lang="en-US" sz="2200">
                <a:cs typeface="Arial"/>
              </a:rPr>
            </a:br>
            <a:r>
              <a:rPr lang="en-US" sz="2200">
                <a:cs typeface="Arial"/>
              </a:rPr>
              <a:t>Symbol</a:t>
            </a:r>
          </a:p>
        </p:txBody>
      </p:sp>
      <p:sp>
        <p:nvSpPr>
          <p:cNvPr id="48" name="Oval 47">
            <a:extLst>
              <a:ext uri="{FF2B5EF4-FFF2-40B4-BE49-F238E27FC236}">
                <a16:creationId xmlns:a16="http://schemas.microsoft.com/office/drawing/2014/main" id="{B7CBBA0B-B47B-D50D-6A16-C1C54B4B3835}"/>
              </a:ext>
            </a:extLst>
          </p:cNvPr>
          <p:cNvSpPr/>
          <p:nvPr/>
        </p:nvSpPr>
        <p:spPr>
          <a:xfrm>
            <a:off x="304800" y="3377380"/>
            <a:ext cx="299884" cy="312175"/>
          </a:xfrm>
          <a:prstGeom prst="ellipse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49" name="Oval 48">
            <a:extLst>
              <a:ext uri="{FF2B5EF4-FFF2-40B4-BE49-F238E27FC236}">
                <a16:creationId xmlns:a16="http://schemas.microsoft.com/office/drawing/2014/main" id="{EA48FF78-5F96-9A52-F099-320E4509A9A0}"/>
              </a:ext>
            </a:extLst>
          </p:cNvPr>
          <p:cNvSpPr/>
          <p:nvPr/>
        </p:nvSpPr>
        <p:spPr>
          <a:xfrm>
            <a:off x="353960" y="4483508"/>
            <a:ext cx="299884" cy="312175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F0000"/>
              </a:solidFill>
              <a:highlight>
                <a:srgbClr val="FF0000"/>
              </a:highlight>
              <a:cs typeface="Arial"/>
            </a:endParaRPr>
          </a:p>
        </p:txBody>
      </p:sp>
      <p:sp>
        <p:nvSpPr>
          <p:cNvPr id="50" name="Oval 49">
            <a:extLst>
              <a:ext uri="{FF2B5EF4-FFF2-40B4-BE49-F238E27FC236}">
                <a16:creationId xmlns:a16="http://schemas.microsoft.com/office/drawing/2014/main" id="{C2206155-BCFF-EFCF-D7A5-544C1CBA2238}"/>
              </a:ext>
            </a:extLst>
          </p:cNvPr>
          <p:cNvSpPr/>
          <p:nvPr/>
        </p:nvSpPr>
        <p:spPr>
          <a:xfrm>
            <a:off x="353960" y="5239363"/>
            <a:ext cx="299884" cy="312175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51" name="Oval 50">
            <a:extLst>
              <a:ext uri="{FF2B5EF4-FFF2-40B4-BE49-F238E27FC236}">
                <a16:creationId xmlns:a16="http://schemas.microsoft.com/office/drawing/2014/main" id="{51721F96-91CE-2581-BDAE-372531F6D2B0}"/>
              </a:ext>
            </a:extLst>
          </p:cNvPr>
          <p:cNvSpPr/>
          <p:nvPr/>
        </p:nvSpPr>
        <p:spPr>
          <a:xfrm>
            <a:off x="353961" y="5921476"/>
            <a:ext cx="299884" cy="312175"/>
          </a:xfrm>
          <a:prstGeom prst="ellipse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pic>
        <p:nvPicPr>
          <p:cNvPr id="6" name="Picture 6" descr="Text&#10;&#10;Description automatically generated">
            <a:extLst>
              <a:ext uri="{FF2B5EF4-FFF2-40B4-BE49-F238E27FC236}">
                <a16:creationId xmlns:a16="http://schemas.microsoft.com/office/drawing/2014/main" id="{CDFEEEF7-F2EC-1C31-F2D2-E2D0435D5D6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09868" y="3111381"/>
            <a:ext cx="6258231" cy="3345253"/>
          </a:xfrm>
          <a:prstGeom prst="rect">
            <a:avLst/>
          </a:prstGeom>
        </p:spPr>
      </p:pic>
      <mc:AlternateContent xmlns:mc="http://schemas.openxmlformats.org/markup-compatibility/2006" xmlns:p14="http://schemas.microsoft.com/office/powerpoint/2010/main">
        <mc:Choice Requires="p14">
          <p:contentPart p14:bwMode="auto" r:id="rId3">
            <p14:nvContentPartPr>
              <p14:cNvPr id="7" name="Ink 6">
                <a:extLst>
                  <a:ext uri="{FF2B5EF4-FFF2-40B4-BE49-F238E27FC236}">
                    <a16:creationId xmlns:a16="http://schemas.microsoft.com/office/drawing/2014/main" id="{D1D46D6A-50C4-B701-9F48-D7AD64747909}"/>
                  </a:ext>
                </a:extLst>
              </p14:cNvPr>
              <p14:cNvContentPartPr/>
              <p14:nvPr/>
            </p14:nvContentPartPr>
            <p14:xfrm>
              <a:off x="5374487" y="4547308"/>
              <a:ext cx="2217015" cy="168590"/>
            </p14:xfrm>
          </p:contentPart>
        </mc:Choice>
        <mc:Fallback xmlns="">
          <p:pic>
            <p:nvPicPr>
              <p:cNvPr id="7" name="Ink 6">
                <a:extLst>
                  <a:ext uri="{FF2B5EF4-FFF2-40B4-BE49-F238E27FC236}">
                    <a16:creationId xmlns:a16="http://schemas.microsoft.com/office/drawing/2014/main" id="{D1D46D6A-50C4-B701-9F48-D7AD64747909}"/>
                  </a:ext>
                </a:extLst>
              </p:cNvPr>
              <p:cNvPicPr/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5338491" y="4475415"/>
                <a:ext cx="2288648" cy="312017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5">
            <p14:nvContentPartPr>
              <p14:cNvPr id="46" name="Ink 45">
                <a:extLst>
                  <a:ext uri="{FF2B5EF4-FFF2-40B4-BE49-F238E27FC236}">
                    <a16:creationId xmlns:a16="http://schemas.microsoft.com/office/drawing/2014/main" id="{8FD923E7-B7B5-4EF4-A671-28B9B3010FC9}"/>
                  </a:ext>
                </a:extLst>
              </p14:cNvPr>
              <p14:cNvContentPartPr/>
              <p14:nvPr/>
            </p14:nvContentPartPr>
            <p14:xfrm>
              <a:off x="6587613" y="4602470"/>
              <a:ext cx="814096" cy="82945"/>
            </p14:xfrm>
          </p:contentPart>
        </mc:Choice>
        <mc:Fallback xmlns="">
          <p:pic>
            <p:nvPicPr>
              <p:cNvPr id="46" name="Ink 45">
                <a:extLst>
                  <a:ext uri="{FF2B5EF4-FFF2-40B4-BE49-F238E27FC236}">
                    <a16:creationId xmlns:a16="http://schemas.microsoft.com/office/drawing/2014/main" id="{8FD923E7-B7B5-4EF4-A671-28B9B3010FC9}"/>
                  </a:ext>
                </a:extLst>
              </p:cNvPr>
              <p:cNvPicPr/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6551639" y="4530966"/>
                <a:ext cx="885685" cy="225596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7">
            <p14:nvContentPartPr>
              <p14:cNvPr id="47" name="Ink 46">
                <a:extLst>
                  <a:ext uri="{FF2B5EF4-FFF2-40B4-BE49-F238E27FC236}">
                    <a16:creationId xmlns:a16="http://schemas.microsoft.com/office/drawing/2014/main" id="{2D45972D-DA0D-E70F-136E-C3E074C82232}"/>
                  </a:ext>
                </a:extLst>
              </p14:cNvPr>
              <p14:cNvContentPartPr/>
              <p14:nvPr/>
            </p14:nvContentPartPr>
            <p14:xfrm>
              <a:off x="5350376" y="6212708"/>
              <a:ext cx="2124129" cy="149056"/>
            </p14:xfrm>
          </p:contentPart>
        </mc:Choice>
        <mc:Fallback xmlns="">
          <p:pic>
            <p:nvPicPr>
              <p:cNvPr id="47" name="Ink 46">
                <a:extLst>
                  <a:ext uri="{FF2B5EF4-FFF2-40B4-BE49-F238E27FC236}">
                    <a16:creationId xmlns:a16="http://schemas.microsoft.com/office/drawing/2014/main" id="{2D45972D-DA0D-E70F-136E-C3E074C82232}"/>
                  </a:ext>
                </a:extLst>
              </p:cNvPr>
              <p:cNvPicPr/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5314380" y="6140874"/>
                <a:ext cx="2195761" cy="292365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9">
            <p14:nvContentPartPr>
              <p14:cNvPr id="52" name="Ink 51">
                <a:extLst>
                  <a:ext uri="{FF2B5EF4-FFF2-40B4-BE49-F238E27FC236}">
                    <a16:creationId xmlns:a16="http://schemas.microsoft.com/office/drawing/2014/main" id="{9899FD71-9CDD-4A38-8861-96324EB61D78}"/>
                  </a:ext>
                </a:extLst>
              </p14:cNvPr>
              <p14:cNvContentPartPr/>
              <p14:nvPr/>
            </p14:nvContentPartPr>
            <p14:xfrm>
              <a:off x="5336511" y="3686002"/>
              <a:ext cx="1355236" cy="168262"/>
            </p14:xfrm>
          </p:contentPart>
        </mc:Choice>
        <mc:Fallback xmlns="">
          <p:pic>
            <p:nvPicPr>
              <p:cNvPr id="52" name="Ink 51">
                <a:extLst>
                  <a:ext uri="{FF2B5EF4-FFF2-40B4-BE49-F238E27FC236}">
                    <a16:creationId xmlns:a16="http://schemas.microsoft.com/office/drawing/2014/main" id="{9899FD71-9CDD-4A38-8861-96324EB61D78}"/>
                  </a:ext>
                </a:extLst>
              </p:cNvPr>
              <p:cNvPicPr/>
              <p:nvPr/>
            </p:nvPicPr>
            <p:blipFill>
              <a:blip r:embed="rId10"/>
              <a:stretch>
                <a:fillRect/>
              </a:stretch>
            </p:blipFill>
            <p:spPr>
              <a:xfrm>
                <a:off x="5300515" y="3614248"/>
                <a:ext cx="1426867" cy="31141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11">
            <p14:nvContentPartPr>
              <p14:cNvPr id="53" name="Ink 52">
                <a:extLst>
                  <a:ext uri="{FF2B5EF4-FFF2-40B4-BE49-F238E27FC236}">
                    <a16:creationId xmlns:a16="http://schemas.microsoft.com/office/drawing/2014/main" id="{44C7ECA5-5FF0-8A09-DFF4-AA3193B0E486}"/>
                  </a:ext>
                </a:extLst>
              </p14:cNvPr>
              <p14:cNvContentPartPr/>
              <p14:nvPr/>
            </p14:nvContentPartPr>
            <p14:xfrm>
              <a:off x="5244767" y="5355779"/>
              <a:ext cx="1445167" cy="150492"/>
            </p14:xfrm>
          </p:contentPart>
        </mc:Choice>
        <mc:Fallback xmlns="">
          <p:pic>
            <p:nvPicPr>
              <p:cNvPr id="53" name="Ink 52">
                <a:extLst>
                  <a:ext uri="{FF2B5EF4-FFF2-40B4-BE49-F238E27FC236}">
                    <a16:creationId xmlns:a16="http://schemas.microsoft.com/office/drawing/2014/main" id="{44C7ECA5-5FF0-8A09-DFF4-AA3193B0E486}"/>
                  </a:ext>
                </a:extLst>
              </p:cNvPr>
              <p:cNvPicPr/>
              <p:nvPr/>
            </p:nvPicPr>
            <p:blipFill>
              <a:blip r:embed="rId12"/>
              <a:stretch>
                <a:fillRect/>
              </a:stretch>
            </p:blipFill>
            <p:spPr>
              <a:xfrm>
                <a:off x="5208782" y="5283945"/>
                <a:ext cx="1516778" cy="293801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13">
            <p14:nvContentPartPr>
              <p14:cNvPr id="55" name="Ink 54">
                <a:extLst>
                  <a:ext uri="{FF2B5EF4-FFF2-40B4-BE49-F238E27FC236}">
                    <a16:creationId xmlns:a16="http://schemas.microsoft.com/office/drawing/2014/main" id="{C3BBE03D-E05E-F090-5570-14177FC6D09A}"/>
                  </a:ext>
                </a:extLst>
              </p14:cNvPr>
              <p14:cNvContentPartPr/>
              <p14:nvPr/>
            </p14:nvContentPartPr>
            <p14:xfrm>
              <a:off x="5348652" y="6001978"/>
              <a:ext cx="6411598" cy="242953"/>
            </p14:xfrm>
          </p:contentPart>
        </mc:Choice>
        <mc:Fallback xmlns="">
          <p:pic>
            <p:nvPicPr>
              <p:cNvPr id="55" name="Ink 54">
                <a:extLst>
                  <a:ext uri="{FF2B5EF4-FFF2-40B4-BE49-F238E27FC236}">
                    <a16:creationId xmlns:a16="http://schemas.microsoft.com/office/drawing/2014/main" id="{C3BBE03D-E05E-F090-5570-14177FC6D09A}"/>
                  </a:ext>
                </a:extLst>
              </p:cNvPr>
              <p:cNvPicPr/>
              <p:nvPr/>
            </p:nvPicPr>
            <p:blipFill>
              <a:blip r:embed="rId14"/>
              <a:stretch>
                <a:fillRect/>
              </a:stretch>
            </p:blipFill>
            <p:spPr>
              <a:xfrm>
                <a:off x="5312654" y="5930098"/>
                <a:ext cx="6483234" cy="386353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15">
            <p14:nvContentPartPr>
              <p14:cNvPr id="57" name="Ink 56">
                <a:extLst>
                  <a:ext uri="{FF2B5EF4-FFF2-40B4-BE49-F238E27FC236}">
                    <a16:creationId xmlns:a16="http://schemas.microsoft.com/office/drawing/2014/main" id="{55A4B7A2-061D-577C-0DB0-EB1F0DB458D5}"/>
                  </a:ext>
                </a:extLst>
              </p14:cNvPr>
              <p14:cNvContentPartPr/>
              <p14:nvPr/>
            </p14:nvContentPartPr>
            <p14:xfrm>
              <a:off x="5368887" y="4406081"/>
              <a:ext cx="2281837" cy="109298"/>
            </p14:xfrm>
          </p:contentPart>
        </mc:Choice>
        <mc:Fallback xmlns="">
          <p:pic>
            <p:nvPicPr>
              <p:cNvPr id="57" name="Ink 56">
                <a:extLst>
                  <a:ext uri="{FF2B5EF4-FFF2-40B4-BE49-F238E27FC236}">
                    <a16:creationId xmlns:a16="http://schemas.microsoft.com/office/drawing/2014/main" id="{55A4B7A2-061D-577C-0DB0-EB1F0DB458D5}"/>
                  </a:ext>
                </a:extLst>
              </p:cNvPr>
              <p:cNvPicPr/>
              <p:nvPr/>
            </p:nvPicPr>
            <p:blipFill>
              <a:blip r:embed="rId16"/>
              <a:stretch>
                <a:fillRect/>
              </a:stretch>
            </p:blipFill>
            <p:spPr>
              <a:xfrm>
                <a:off x="5332890" y="4334174"/>
                <a:ext cx="2353471" cy="252752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17">
            <p14:nvContentPartPr>
              <p14:cNvPr id="59" name="Ink 58">
                <a:extLst>
                  <a:ext uri="{FF2B5EF4-FFF2-40B4-BE49-F238E27FC236}">
                    <a16:creationId xmlns:a16="http://schemas.microsoft.com/office/drawing/2014/main" id="{F5B5AE82-6820-F345-A1D6-073B81FCE6C5}"/>
                  </a:ext>
                </a:extLst>
              </p14:cNvPr>
              <p14:cNvContentPartPr/>
              <p14:nvPr/>
            </p14:nvContentPartPr>
            <p14:xfrm>
              <a:off x="5555225" y="5956638"/>
              <a:ext cx="2116531" cy="90472"/>
            </p14:xfrm>
          </p:contentPart>
        </mc:Choice>
        <mc:Fallback xmlns="">
          <p:pic>
            <p:nvPicPr>
              <p:cNvPr id="59" name="Ink 58">
                <a:extLst>
                  <a:ext uri="{FF2B5EF4-FFF2-40B4-BE49-F238E27FC236}">
                    <a16:creationId xmlns:a16="http://schemas.microsoft.com/office/drawing/2014/main" id="{F5B5AE82-6820-F345-A1D6-073B81FCE6C5}"/>
                  </a:ext>
                </a:extLst>
              </p:cNvPr>
              <p:cNvPicPr/>
              <p:nvPr/>
            </p:nvPicPr>
            <p:blipFill>
              <a:blip r:embed="rId18"/>
              <a:stretch>
                <a:fillRect/>
              </a:stretch>
            </p:blipFill>
            <p:spPr>
              <a:xfrm>
                <a:off x="5519230" y="5884835"/>
                <a:ext cx="2188162" cy="233719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19">
            <p14:nvContentPartPr>
              <p14:cNvPr id="60" name="Ink 59">
                <a:extLst>
                  <a:ext uri="{FF2B5EF4-FFF2-40B4-BE49-F238E27FC236}">
                    <a16:creationId xmlns:a16="http://schemas.microsoft.com/office/drawing/2014/main" id="{54F401A4-7EBC-7353-909B-F751D3E77219}"/>
                  </a:ext>
                </a:extLst>
              </p14:cNvPr>
              <p14:cNvContentPartPr/>
              <p14:nvPr/>
            </p14:nvContentPartPr>
            <p14:xfrm>
              <a:off x="5512209" y="4323064"/>
              <a:ext cx="1904859" cy="36675"/>
            </p14:xfrm>
          </p:contentPart>
        </mc:Choice>
        <mc:Fallback xmlns="">
          <p:pic>
            <p:nvPicPr>
              <p:cNvPr id="60" name="Ink 59">
                <a:extLst>
                  <a:ext uri="{FF2B5EF4-FFF2-40B4-BE49-F238E27FC236}">
                    <a16:creationId xmlns:a16="http://schemas.microsoft.com/office/drawing/2014/main" id="{54F401A4-7EBC-7353-909B-F751D3E77219}"/>
                  </a:ext>
                </a:extLst>
              </p:cNvPr>
              <p:cNvPicPr/>
              <p:nvPr/>
            </p:nvPicPr>
            <p:blipFill>
              <a:blip r:embed="rId20"/>
              <a:stretch>
                <a:fillRect/>
              </a:stretch>
            </p:blipFill>
            <p:spPr>
              <a:xfrm>
                <a:off x="5476214" y="4251850"/>
                <a:ext cx="1976489" cy="178746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382250498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8ec91a1f-bc96-473d-a77b-338e6e9aee64"/>
  <p:tag name="EE4P_AGENDAWIZARD" val="&lt;ee4p&gt;&lt;layouts&gt;&lt;layout name=&quot;Box 1&quot; id=&quot;1_1&quot;&gt;&lt;standard&gt;&lt;textframe horizontalAnchor=&quot;1&quot; marginBottom=&quot;6&quot; marginLeft=&quot;0&quot; marginRight=&quot;0&quot; marginTop=&quot;6&quot; orientation=&quot;1&quot; verticalAnchor=&quot;1&quot; /&gt;&lt;font name=&quot;Arial&quot; bold=&quot;0&quot; italic=&quot;0&quot; color=&quot;13&quot; /&gt;&lt;paragraphformat firstLineIndent=&quot;0&quot; leftIndent=&quot;0&quot; rightIndent=&quot;0&quot; lineRuleBefore=&quot;&quot; lineRuleWithin=&quot;&quot; lineRuleAfter=&quot;&quot; spaceBefore=&quot;&quot; spaceWithin=&quot;&quot; spaceAfter=&quot;&quot; /&gt;&lt;fill visible=&quot;0&quot; /&gt;&lt;line visible=&quot;0&quot; /&gt;&lt;shadow visible=&quot;0&quot; /&gt;&lt;bulletformat visible=&quot;0&quot; /&gt;&lt;/standard&gt;&lt;agenda name=&quot;New Agenda&quot; title=&quot;Agenda&quot; subtitle=&quot;&quot; sizingModeId=&quot;2&quot; fontSize=&quot;16&quot; fontSizeAuto=&quot;1&quot; startTime=&quot;540&quot; timeFormatId=&quot;1&quot; startItemNo=&quot;1&quot; createSingleAgendaSlide=&quot;1&quot; createSeparatingSlides=&quot;1&quot; createBackupSlide=&quot;1&quot; /&gt;&lt;columns&gt;&lt;column field=&quot;itemno&quot; label=&quot;No.&quot; checked=&quot;1&quot; leftSpacing=&quot;0&quot; rightSpacing=&quot;0&quot; dock=&quot;1&quot; fixedWidth=&quot;31.50472&quot; /&gt;&lt;column field=&quot;topic&quot; label=&quot;Topic&quot; leftSpacing=&quot;5&quot; rightDistribute=&quot;1&quot; dock=&quot;1&quot; /&gt;&lt;column field=&quot;responsible&quot; label=&quot;Responsible&quot; visible=&quot;1&quot; checked=&quot;1&quot; leftSpacing=&quot;10&quot; rightDistribute=&quot;1&quot; dock=&quot;1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1&quot; leftSpacing=&quot;10&quot; rightSpacing=&quot;6&quot; dock=&quot;2&quot; /&gt;&lt;column field=&quot;pageno&quot; label=&quot;Page No.&quot; visible=&quot;1&quot; checked=&quot;0&quot; leftSpacing=&quot;10&quot; rightSpacing=&quot;6&quot; dock=&quot;2&quot; /&gt;&lt;/columns&gt;&lt;position left=&quot;40.49992&quot; top=&quot;135.25&quot; width=&quot;878.8124&quot; height=&quot;350.25&quot; /&gt;&lt;!--&#10;      &lt;subtitle&gt;&#10;        &lt;position left=&quot;31.25&quot; top=&quot;92.00031&quot; width=&quot;657.75&quot; height=&quot;19.25&quot;/&gt;&#10;        &lt;font size=&quot;16&quot;/&gt;&#10;        &lt;textframe marginBottom=&quot;0&quot; marginTop=&quot;0&quot;/&gt;&#10;        &lt;paragraphformat alignment=&quot;1&quot;/&gt;&#10;      &lt;/subtitle&gt;&#10;      --&gt;&lt;settings allowedSizingModeIds=&quot;1|2&quot; allowedFontSizes=&quot;8|9|10|10.5|11|12|14|16|18&quot; allowedTimeFormatIds=&quot;1|2|3&quot; slideLayout=&quot;11&quot; customLayoutName=&quot;Nur Titel|Title Only&quot; customLayoutIndex=&quot;&quot; showBreak=&quot;1&quot; singleAgendaSlideSelected=&quot;0&quot; backupSlideTitle=&quot;Backup: %agendaName%&quot; topMargin=&quot;0&quot; leftMargin=&quot;0&quot; allowedLevels=&quot;4&quot; itemNoFormats=&quot;{1}¦{1}.{2}¦{3:alphaLC}¦{3:alphaLC}.{4:alphaLC}&quot; /&gt;&lt;!-- Agenda item formats --&gt;&lt;cases&gt;&lt;case level=&quot;1&quot; selected=&quot;0&quot; break=&quot;0&quot; topMinSpacing=&quot;5&quot; topMaxSpacing=&quot;5&quot; bottomMinSpacing=&quot;0&quot; bottomMaxSpacing=&quot;0&quot;&gt;&lt;element field=&quot;itemno&quot; type=&quot;autoshape&quot; autoShapeType=&quot;1&quot; indent=&quot;(level-1)*(itemSingleHeight+topicLeftSpacing)&quot; indentType=&quot;1&quot;&gt;&lt;textframe marginLeft=&quot;6&quot; marginRight=&quot;6&quot; verticalAnchor=&quot;3&quot; /&gt;&lt;paragraphformat alignment=&quot;2&quot; /&gt;&lt;fill foreColor=&quot;5&quot; visible=&quot;1&quot; /&gt;&lt;font bold=&quot;1&quot; color=&quot;14&quot; /&gt;&lt;/element&gt;&lt;element field=&quot;topic&quot; type=&quot;autoshape&quot; autoShapeType=&quot;1&quot; indent=&quot;(level-1)*(itemSingleHeight+topicLeftSpacing)&quot; indentType=&quot;2&quot;&gt;&lt;paragraphformat alignment=&quot;1&quot; /&gt;&lt;textframe marginLeft=&quot;6&quot; /&gt;&lt;font bold=&quot;1&quot; /&gt;&lt;/element&gt;&lt;element field=&quot;responsible&quot; type=&quot;autoshape&quot; autoShapeType=&quot;1&quot; indent=&quot;(level-1)*(itemSingleHeight+topicLeftSpacing)&quot; indentType=&quot;1&quot;&gt;&lt;paragraphformat alignment=&quot;1&quot; /&gt;&lt;/element&gt;&lt;element field=&quot;freecolumn&quot; type=&quot;autoshape&quot; autoShapeType=&quot;1&quot; indent=&quot;(level-1)*(itemSingleHeight+topicLeftSpacing)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elected=&quot;1&quot; break=&quot;0&quot; topMinSpacing=&quot;5&quot; topMaxSpacing=&quot;5&quot; bottomMinSpacing=&quot;0&quot; bottomMaxSpacing=&quot;0&quot;&gt;&lt;element type=&quot;autoshape&quot; autoShapeType=&quot;1&quot; value=&quot;&quot;&gt;&lt;position left=&quot;level*(itemSingleHeight+topicLeftSpacing)&quot; top=&quot;0&quot; width=&quot;agendaWidth-topicLeftSpacing-itemNoWidth-(level-1)*(itemSingleHeight+topicLeftSpacing)&quot; height=&quot;itemHeight&quot; /&gt;&lt;fill foreColor=&quot;#D9D9D9&quot; visible=&quot;1&quot; /&gt;&lt;/element&gt;&lt;element field=&quot;itemno&quot; type=&quot;autoshape&quot; autoShapeType=&quot;1&quot; indent=&quot;(level-1)*(itemSingleHeight+topicLeftSpacing)&quot; indentType=&quot;1&quot;&gt;&lt;textframe marginLeft=&quot;6&quot; marginRight=&quot;6&quot; verticalAnchor=&quot;3&quot; /&gt;&lt;paragraphformat alignment=&quot;2&quot; /&gt;&lt;fill foreColor=&quot;5&quot; visible=&quot;1&quot; /&gt;&lt;font bold=&quot;1&quot; color=&quot;14&quot; /&gt;&lt;/element&gt;&lt;element field=&quot;topic&quot; type=&quot;autoshape&quot; autoShapeType=&quot;1&quot; indent=&quot;(level-1)*(itemSingleHeight+topicLeftSpacing)&quot; indentType=&quot;2&quot;&gt;&lt;paragraphformat alignment=&quot;1&quot; /&gt;&lt;font bold=&quot;1&quot; /&gt;&lt;textframe marginLeft=&quot;6&quot; /&gt;&lt;/element&gt;&lt;element field=&quot;responsible&quot; type=&quot;autoshape&quot; autoShapeType=&quot;1&quot; indent=&quot;(level-1)*(itemSingleHeight+topicLeftSpacing)&quot; indentType=&quot;1&quot;&gt;&lt;paragraphformat alignment=&quot;1&quot; /&gt;&lt;/element&gt;&lt;element field=&quot;freecolumn&quot; type=&quot;autoshape&quot; autoShapeType=&quot;1&quot; indent=&quot;(level-1)*(itemSingleHeight+topicLeftSpacing)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elected=&quot;0&quot; break=&quot;1&quot; topMinSpacing=&quot;5&quot; topMaxSpacing=&quot;5&quot; bottomMinSpacing=&quot;0&quot; bottomMaxSpacing=&quot;0&quot;&gt;&lt;element field=&quot;topic&quot; type=&quot;autoshape&quot; autoShapeType=&quot;1&quot; indent=&quot;(level-1)*(itemSingleHeight+topicLeftSpacing)&quot; indentType=&quot;2&quot;&gt;&lt;paragraphformat alignment=&quot;1&quot; /&gt;&lt;textframe marginLeft=&quot;6&quot; /&gt;&lt;font bold=&quot;1&quot; italic=&quot;1&quot; /&gt;&lt;/element&gt;&lt;element field=&quot;responsible&quot; type=&quot;autoshape&quot; autoShapeType=&quot;1&quot; indent=&quot;(level-1)*(itemSingleHeight+topicLeftSpacing)&quot; indentType=&quot;1&quot;&gt;&lt;paragraphformat alignment=&quot;1&quot; /&gt;&lt;font italic=&quot;1&quot; /&gt;&lt;/element&gt;&lt;element field=&quot;freecolumn&quot; type=&quot;autoshape&quot; autoShapeType=&quot;1&quot; indent=&quot;(level-1)*(itemSingleHeight+topicLeftSpacing)&quot; indent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case level=&quot;1&quot; selected=&quot;1&quot; break=&quot;1&quot; topMinSpacing=&quot;5&quot; topMaxSpacing=&quot;5&quot; bottomMinSpacing=&quot;0&quot; bottomMaxSpacing=&quot;0&quot;&gt;&lt;element type=&quot;autoshape&quot; autoShapeType=&quot;1&quot; value=&quot;&quot;&gt;&lt;position left=&quot;level*(itemSingleHeight+topicLeftSpacing)&quot; top=&quot;0&quot; width=&quot;agendaWidth-topicLeftSpacing-itemNoWidth-(level-1)*(itemSingleHeight+topicLeftSpacing)&quot; height=&quot;itemHeight&quot; /&gt;&lt;fill foreColor=&quot;#D9D9D9&quot; visible=&quot;1&quot; /&gt;&lt;/element&gt;&lt;element field=&quot;topic&quot; type=&quot;autoshape&quot; autoShapeType=&quot;1&quot; indent=&quot;(level-1)*(itemSingleHeight+topicLeftSpacing)&quot; indentType=&quot;2&quot;&gt;&lt;paragraphformat alignment=&quot;1&quot; /&gt;&lt;font bold=&quot;1&quot; italic=&quot;1&quot; /&gt;&lt;textframe marginLeft=&quot;6&quot; /&gt;&lt;/element&gt;&lt;element field=&quot;responsible&quot; type=&quot;autoshape&quot; autoShapeType=&quot;1&quot; indent=&quot;(level-1)*(itemSingleHeight+topicLeftSpacing)&quot; indentType=&quot;1&quot;&gt;&lt;paragraphformat alignment=&quot;1&quot; /&gt;&lt;font italic=&quot;1&quot; /&gt;&lt;/element&gt;&lt;element field=&quot;freecolumn&quot; type=&quot;autoshape&quot; autoShapeType=&quot;1&quot; indent=&quot;(level-1)*(itemSingleHeight+topicLeftSpacing)&quot; indent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/cases&gt;&lt;!-- Elements on slide independent of items --&gt;&lt;elements&gt;&lt;!--&#10;        &lt;element type=&quot;textbox&quot; zOrder=&quot;1&quot; value=&quot;test&quot;&gt;&#10;          &lt;position left=&quot;0&quot; top=&quot;0&quot; width=&quot;30&quot; height=&quot;30&quot;/&gt;&#10;        &lt;/element&gt;&#10;      --&gt;&lt;/elements&gt;&lt;/layout&gt;&lt;/layouts&gt;&lt;contents&gt;&lt;agenda name=&quot;New Agenda&quot; title=&quot;Inhalt&quot; subtitle=&quot;&quot; sizingModeId=&quot;2&quot; fontSize=&quot;16&quot; fontSizeAuto=&quot;1&quot; startTime=&quot;540&quot; timeFormatId=&quot;1&quot; startItemNo=&quot;1&quot; createSingleAgendaSlide=&quot;1&quot; createSeparatingSlides=&quot;1&quot; createBackupSlide=&quot;1&quot; layoutId=&quot;1_1&quot; hideSeparatingSlides=&quot;0&quot; createSections=&quot;1&quot; singleSlideId=&quot;c61356cf-2b2c-47e1-9ece-9ecc45bb6f57&quot; backupSlideId=&quot;41ad39bf-9f22-4c2f-a801-71c120e28e33&quot; backupSectionId=&quot;{7F9D694B-3E44-43BA-A1E4-2AC6E6AEA6A5}&quot;&gt;&lt;columns leftSpacing=&quot;0&quot; rightSpacing=&quot;0&quot;&gt;&lt;column field=&quot;itemno&quot; label=&quot;No.&quot; checked=&quot;1&quot; leftSpacing=&quot;0&quot; rightSpacing=&quot;0&quot; dock=&quot;1&quot; fixedWidth=&quot;31.50472&quot; /&gt;&lt;column field=&quot;topic&quot; label=&quot;Topic&quot; leftSpacing=&quot;5&quot; rightDistribute=&quot;1&quot; dock=&quot;1&quot; rightSpacing=&quot;276.9915&quot; /&gt;&lt;column field=&quot;responsible&quot; label=&quot;Responsible&quot; visible=&quot;1&quot; checked=&quot;0&quot; leftSpacing=&quot;10&quot; rightDistribute=&quot;1&quot; dock=&quot;1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0&quot; leftSpacing=&quot;10&quot; rightSpacing=&quot;6&quot; dock=&quot;2&quot; /&gt;&lt;column field=&quot;pageno&quot; label=&quot;Page No.&quot; visible=&quot;1&quot; checked=&quot;1&quot; leftSpacing=&quot;10&quot; rightSpacing=&quot;6&quot; dock=&quot;2&quot; /&gt;&lt;/columns&gt;&lt;items&gt;&lt;item duration=&quot;30&quot; id=&quot;196c8438-2409-4ef7-8ef8-0bd79fbfc7cd&quot; parentId=&quot;&quot; level=&quot;1&quot; generateAgendaSlide=&quot;1&quot; showAgendaItem=&quot;1&quot; isBreak=&quot;0&quot; topic=&quot;Lehreinheit 1: Einführung&quot; agendaSlideId=&quot;591ef9d4-08be-4b1f-9f64-84b105760ff1&quot; sectionId=&quot;{20A8DC24-13E1-4BA2-A72E-4C991867E3F6}&quot; /&gt;&lt;item duration=&quot;30&quot; id=&quot;cb29c52b-7c3c-4c90-8afb-04a25dc7b54f&quot; parentId=&quot;&quot; level=&quot;1&quot; generateAgendaSlide=&quot;1&quot; showAgendaItem=&quot;1&quot; isBreak=&quot;0&quot; topic=&quot;Lehreinheit 2: Leistungsfang der Seminararbeit&quot; agendaSlideId=&quot;c7696a19-6a9e-4a25-b95f-49d8b58a1169&quot; sectionId=&quot;{BE061C0B-8A78-4412-8391-D6324E54AA0A}&quot; /&gt;&lt;item duration=&quot;30&quot; id=&quot;0a2b71a8-871f-475a-a7e9-cb37f5f76a51&quot; parentId=&quot;&quot; level=&quot;1&quot; generateAgendaSlide=&quot;1&quot; showAgendaItem=&quot;1&quot; isBreak=&quot;0&quot; topic=&quot;Lehreinheit 3: Grundlagen zur Wissenschaftstheorie&quot; agendaSlideId=&quot;468ac9a7-b158-4b4a-aea7-fe7e9306fe90&quot; sectionId=&quot;{5A3F3EF3-72C7-414E-BD1D-5C8AC72AE292}&quot; /&gt;&lt;item duration=&quot;30&quot; id=&quot;5a5d4619-0c25-4fb0-8d0e-01fe4a7c203a&quot; parentId=&quot;&quot; level=&quot;1&quot; generateAgendaSlide=&quot;1&quot; showAgendaItem=&quot;1&quot; isBreak=&quot;0&quot; topic=&quot;Lehreinheit 4: Forschungsprozess/-methoden der Wirtschaftsinformatik&quot; agendaSlideId=&quot;19c16087-e649-4e47-b7c7-7576364391de&quot; sectionId=&quot;{AECC569F-047E-495D-AB85-D32C26DCEFA3}&quot; /&gt;&lt;item duration=&quot;30&quot; id=&quot;b46b5e3a-d44d-4de1-94cc-c0273e0fc492&quot; parentId=&quot;&quot; level=&quot;1&quot; generateAgendaSlide=&quot;1&quot; showAgendaItem=&quot;1&quot; isBreak=&quot;0&quot; topic=&quot;Lehreinheit 5: Literaturanalyse und Zitation&quot; agendaSlideId=&quot;f506c8bd-9226-4516-87a5-502394bd28e0&quot; sectionId=&quot;{CFA64B56-6ECA-4DD1-AC96-1551920EC18D}&quot; /&gt;&lt;item duration=&quot;30&quot; id=&quot;2ff828a7-350c-4969-8cc8-281bf9fd71c6&quot; parentId=&quot;&quot; level=&quot;1&quot; generateAgendaSlide=&quot;1&quot; showAgendaItem=&quot;1&quot; isBreak=&quot;0&quot; topic=&quot;Lehreinheit 6: Gestaltung wissenschaftlicher Arbeiten&quot; agendaSlideId=&quot;7f20dbbb-bca9-4b42-87e5-33b1fa293882&quot; sectionId=&quot;{104C97A5-9A10-4B5B-93C3-7EDDE1B8A6BB}&quot; /&gt;&lt;item duration=&quot;30&quot; id=&quot;dfefd35f-207d-410b-b106-0d6b532c3c5e&quot; parentId=&quot;&quot; level=&quot;1&quot; generateAgendaSlide=&quot;1&quot; showAgendaItem=&quot;1&quot; isBreak=&quot;0&quot; topic=&quot;Lehreinheit 7: Zusammenfassung und Ausblick&quot; agendaSlideId=&quot;ed0596cb-5e4f-4b9b-85d0-91a87dbffbbe&quot; sectionId=&quot;{32CB8127-3593-4ED5-9928-57E53DBFA83F}&quot; /&gt;&lt;/items&gt;&lt;/agenda&gt;&lt;/contents&gt;&lt;/ee4p&gt;"/>
  <p:tag name="EE4P_AGENDAWIZARD_UPDATEPAGENUMBERS" val="1"/>
</p:tagLst>
</file>

<file path=ppt/theme/theme1.xml><?xml version="1.0" encoding="utf-8"?>
<a:theme xmlns:a="http://schemas.openxmlformats.org/drawingml/2006/main" name="PowerPoint Master 4x3 Hochschule Heilbronn">
  <a:themeElements>
    <a:clrScheme name="Hochschule Heilbronn PPT">
      <a:dk1>
        <a:sysClr val="windowText" lastClr="000000"/>
      </a:dk1>
      <a:lt1>
        <a:sysClr val="window" lastClr="FFFFFF"/>
      </a:lt1>
      <a:dk2>
        <a:srgbClr val="BCBCBC"/>
      </a:dk2>
      <a:lt2>
        <a:srgbClr val="747474"/>
      </a:lt2>
      <a:accent1>
        <a:srgbClr val="002896"/>
      </a:accent1>
      <a:accent2>
        <a:srgbClr val="667EC0"/>
      </a:accent2>
      <a:accent3>
        <a:srgbClr val="99A8D6"/>
      </a:accent3>
      <a:accent4>
        <a:srgbClr val="00727F"/>
      </a:accent4>
      <a:accent5>
        <a:srgbClr val="009BA6"/>
      </a:accent5>
      <a:accent6>
        <a:srgbClr val="7FCBD3"/>
      </a:accent6>
      <a:hlink>
        <a:srgbClr val="000000"/>
      </a:hlink>
      <a:folHlink>
        <a:srgbClr val="000000"/>
      </a:folHlink>
    </a:clrScheme>
    <a:fontScheme name="Hochschule Heilbron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>
              <a:lumMod val="50000"/>
              <a:lumOff val="50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custClrLst>
    <a:custClr name="0 | 40 | 150">
      <a:srgbClr val="002896"/>
    </a:custClr>
    <a:custClr name="0 | 159 | 213">
      <a:srgbClr val="009FD5"/>
    </a:custClr>
    <a:custClr name="0 | 114 |127">
      <a:srgbClr val="00727F"/>
    </a:custClr>
    <a:custClr name="255 | 158 | 0">
      <a:srgbClr val="FF9E00"/>
    </a:custClr>
    <a:custClr name="100 | 179 | 44">
      <a:srgbClr val="64B32C"/>
    </a:custClr>
    <a:custClr name="171 | 0 | 66">
      <a:srgbClr val="AB0042"/>
    </a:custClr>
    <a:custClr name="0 | 0 | 0">
      <a:srgbClr val="000000"/>
    </a:custClr>
    <a:custClr>
      <a:srgbClr val="FFFFFF"/>
    </a:custClr>
    <a:custClr name="255 | 255 | 255">
      <a:srgbClr val="FFFFFF"/>
    </a:custClr>
    <a:custClr name="255 | 255 | 255">
      <a:srgbClr val="FFFFFF"/>
    </a:custClr>
    <a:custClr name="102 | 126 | 192">
      <a:srgbClr val="667EC0"/>
    </a:custClr>
    <a:custClr name="96 | 198 | 239">
      <a:srgbClr val="60C6EF"/>
    </a:custClr>
    <a:custClr name="0 | 155 | 166">
      <a:srgbClr val="009BA6"/>
    </a:custClr>
    <a:custClr name="255 | 203 | 14">
      <a:srgbClr val="FFCB0E"/>
    </a:custClr>
    <a:custClr name="180 | 204 | 0">
      <a:srgbClr val="B4CC00"/>
    </a:custClr>
    <a:custClr name="220 | 55 | 105">
      <a:srgbClr val="DC3769"/>
    </a:custClr>
    <a:custClr name="116 | 116 | 116">
      <a:srgbClr val="747474"/>
    </a:custClr>
    <a:custClr name="255 | 255 | 255">
      <a:srgbClr val="FFFFFF"/>
    </a:custClr>
    <a:custClr name="255 | 255 | 255">
      <a:srgbClr val="FFFFFF"/>
    </a:custClr>
    <a:custClr name="255 | 255 | 255">
      <a:srgbClr val="FFFFFF"/>
    </a:custClr>
    <a:custClr name="153 | 168 | 214">
      <a:srgbClr val="99A8D6"/>
    </a:custClr>
    <a:custClr name="176 | 223 | 247">
      <a:srgbClr val="B0DFF7"/>
    </a:custClr>
    <a:custClr name="127 | 203 | 211">
      <a:srgbClr val="7FCBD3"/>
    </a:custClr>
    <a:custClr name="255 | 241 | 77">
      <a:srgbClr val="FFF14D"/>
    </a:custClr>
    <a:custClr name="234 | 228 | 72">
      <a:srgbClr val="EAE448"/>
    </a:custClr>
    <a:custClr name="235 | 142 | 178">
      <a:srgbClr val="EB8EB2"/>
    </a:custClr>
    <a:custClr name="188 | 188 | 188">
      <a:srgbClr val="BCBCBC"/>
    </a:custClr>
    <a:custClr name="255 | 255 | 255">
      <a:srgbClr val="FFFFFF"/>
    </a:custClr>
    <a:custClr name="255 | 255 | 255">
      <a:srgbClr val="FFFFFF"/>
    </a:custClr>
    <a:custClr name="255 | 255 | 255">
      <a:srgbClr val="FFFFFF"/>
    </a:custClr>
  </a:custClrLst>
  <a:extLst>
    <a:ext uri="{05A4C25C-085E-4340-85A3-A5531E510DB2}">
      <thm15:themeFamily xmlns:thm15="http://schemas.microsoft.com/office/thememl/2012/main" name="PPT_HHN_16x9_DE_02.potx" id="{2AC1B5FE-E2EF-464A-AE9A-6144DCC24832}" vid="{E68E6C6E-6C71-4C90-B8D2-D9285002C94A}"/>
    </a:ext>
  </a:extLst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Larissa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D67133C2A16254FA13DFBA268F4D0FA" ma:contentTypeVersion="3" ma:contentTypeDescription="Ein neues Dokument erstellen." ma:contentTypeScope="" ma:versionID="eff847a05ca468d6afa0f3597eccd307">
  <xsd:schema xmlns:xsd="http://www.w3.org/2001/XMLSchema" xmlns:xs="http://www.w3.org/2001/XMLSchema" xmlns:p="http://schemas.microsoft.com/office/2006/metadata/properties" xmlns:ns3="b2ec6037-3100-480c-9686-0d0655334f64" targetNamespace="http://schemas.microsoft.com/office/2006/metadata/properties" ma:root="true" ma:fieldsID="090f3c4f0c08686a6b08bc848b77e9c6" ns3:_="">
    <xsd:import namespace="b2ec6037-3100-480c-9686-0d0655334f64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_activity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2ec6037-3100-480c-9686-0d0655334f6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_activity" ma:index="10" nillable="true" ma:displayName="_activity" ma:hidden="true" ma:internalName="_activity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b2ec6037-3100-480c-9686-0d0655334f64" xsi:nil="true"/>
  </documentManagement>
</p:properties>
</file>

<file path=customXml/itemProps1.xml><?xml version="1.0" encoding="utf-8"?>
<ds:datastoreItem xmlns:ds="http://schemas.openxmlformats.org/officeDocument/2006/customXml" ds:itemID="{DB3201FA-30AD-407D-A9D0-C252550A8DF1}">
  <ds:schemaRefs>
    <ds:schemaRef ds:uri="b2ec6037-3100-480c-9686-0d0655334f64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5071DCB5-2D12-48CB-BC46-AA1C27C8D3A5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33190D82-C6D5-43C1-A34B-C3DF05915466}">
  <ds:schemaRefs>
    <ds:schemaRef ds:uri="b2ec6037-3100-480c-9686-0d0655334f64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Application>Microsoft Office PowerPoint</Application>
  <PresentationFormat>Breitbild</PresentationFormat>
  <Slides>26</Slides>
  <Notes>1</Notes>
  <HiddenSlides>0</HiddenSlides>
  <ScaleCrop>false</ScaleCrop>
  <HeadingPairs>
    <vt:vector size="4" baseType="variant">
      <vt:variant>
        <vt:lpstr>Design</vt:lpstr>
      </vt:variant>
      <vt:variant>
        <vt:i4>1</vt:i4>
      </vt:variant>
      <vt:variant>
        <vt:lpstr>Folientitel</vt:lpstr>
      </vt:variant>
      <vt:variant>
        <vt:i4>26</vt:i4>
      </vt:variant>
    </vt:vector>
  </HeadingPairs>
  <TitlesOfParts>
    <vt:vector size="27" baseType="lpstr">
      <vt:lpstr>PowerPoint Master 4x3 Hochschule Heilbronn</vt:lpstr>
      <vt:lpstr>Pylint</vt:lpstr>
      <vt:lpstr>Inhalt</vt:lpstr>
      <vt:lpstr>Allgemeines über Pylint</vt:lpstr>
      <vt:lpstr>Was sind Linter</vt:lpstr>
      <vt:lpstr>PEP 8</vt:lpstr>
      <vt:lpstr>Wofür wird Pylint benötigt</vt:lpstr>
      <vt:lpstr>Praxis Teil 1 </vt:lpstr>
      <vt:lpstr>Aufgabe 1 – Pylint ausführen</vt:lpstr>
      <vt:lpstr>Aufgabe 1 – Pylint ausführen</vt:lpstr>
      <vt:lpstr>Aufgabe 1 – Pylint ausführen</vt:lpstr>
      <vt:lpstr>Aufgabe 2 – Pylint Report erstellen</vt:lpstr>
      <vt:lpstr>Aufgabe 3 – Filtern &amp; Hilfe Anfragen</vt:lpstr>
      <vt:lpstr>Pause  15 minuten</vt:lpstr>
      <vt:lpstr>Praxis Teil 2</vt:lpstr>
      <vt:lpstr>Aufgabe 4 – Übungsaufgabe Conventions</vt:lpstr>
      <vt:lpstr>Aufgabe 4 – Übungsaufgabe Configuration</vt:lpstr>
      <vt:lpstr>Aufgabe 4 – Übungsaufgaben </vt:lpstr>
      <vt:lpstr>Bonusaufgabe</vt:lpstr>
      <vt:lpstr>Praxis Teil 3</vt:lpstr>
      <vt:lpstr>Abschlussaufgabe</vt:lpstr>
      <vt:lpstr>Vorteile</vt:lpstr>
      <vt:lpstr>Nachteile</vt:lpstr>
      <vt:lpstr>Vergleich mit anderen tools: Pyflakes</vt:lpstr>
      <vt:lpstr>Alternative 2: Flake 8</vt:lpstr>
      <vt:lpstr>Mentimeter</vt:lpstr>
      <vt:lpstr>PowerPoint-Prä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issenschafts- und Forschungsmethoden</dc:title>
  <dc:creator>Thomas Schäffer</dc:creator>
  <cp:revision>2</cp:revision>
  <dcterms:created xsi:type="dcterms:W3CDTF">2019-09-24T09:14:44Z</dcterms:created>
  <dcterms:modified xsi:type="dcterms:W3CDTF">2022-12-27T21:36:5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D67133C2A16254FA13DFBA268F4D0FA</vt:lpwstr>
  </property>
</Properties>
</file>